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9" r:id="rId4"/>
  </p:sldMasterIdLst>
  <p:notesMasterIdLst>
    <p:notesMasterId r:id="rId19"/>
  </p:notesMasterIdLst>
  <p:handoutMasterIdLst>
    <p:handoutMasterId r:id="rId20"/>
  </p:handoutMasterIdLst>
  <p:sldIdLst>
    <p:sldId id="2147475784" r:id="rId5"/>
    <p:sldId id="2147475793" r:id="rId6"/>
    <p:sldId id="2147475794" r:id="rId7"/>
    <p:sldId id="2147475795" r:id="rId8"/>
    <p:sldId id="2147475802" r:id="rId9"/>
    <p:sldId id="2147475797" r:id="rId10"/>
    <p:sldId id="2147475800" r:id="rId11"/>
    <p:sldId id="2147475783" r:id="rId12"/>
    <p:sldId id="2147475790" r:id="rId13"/>
    <p:sldId id="2147475778" r:id="rId14"/>
    <p:sldId id="2147475789" r:id="rId15"/>
    <p:sldId id="2147475770" r:id="rId16"/>
    <p:sldId id="2147475792" r:id="rId17"/>
    <p:sldId id="2145706404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56" userDrawn="1">
          <p15:clr>
            <a:srgbClr val="A4A3A4"/>
          </p15:clr>
        </p15:guide>
        <p15:guide id="3" pos="4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570F0E-2CF2-5775-06F4-715CD97735EF}" name="Volpe, Christina" initials="CV" userId="S::cvolpe@wiley.com::f6782b03-bbf7-490e-8e62-c6c57ef273b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70BA"/>
    <a:srgbClr val="224C6D"/>
    <a:srgbClr val="265660"/>
    <a:srgbClr val="3B4E4A"/>
    <a:srgbClr val="7CA190"/>
    <a:srgbClr val="D4D1B6"/>
    <a:srgbClr val="CCCED8"/>
    <a:srgbClr val="2D4748"/>
    <a:srgbClr val="115C36"/>
    <a:srgbClr val="198C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B57D7F2-0E79-4155-BC37-E35B3D52C30B}">
  <a:tblStyle styleId="{CAD4AB54-EFA9-48B0-BD02-9E996CC5CC4C}" styleName="Wiley Default Green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prstClr val="white"/>
            </a:lnRef>
          </a:left>
          <a:right>
            <a:lnRef idx="1">
              <a:prstClr val="white"/>
            </a:lnRef>
          </a:right>
          <a:top>
            <a:lnRef idx="1">
              <a:prstClr val="white"/>
            </a:lnRef>
          </a:top>
          <a:bottom>
            <a:lnRef idx="1">
              <a:prstClr val="white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1"/>
        </a:fillRef>
      </a:tcStyle>
    </a:firstRow>
  </a:tblStyle>
  <a:tblStyle styleId="{A2ED5165-3401-4742-9E7C-3468B0EAD80F}" styleName="Wiley Default Berry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prstClr val="white"/>
            </a:lnRef>
          </a:left>
          <a:right>
            <a:lnRef idx="1">
              <a:prstClr val="white"/>
            </a:lnRef>
          </a:right>
          <a:top>
            <a:lnRef idx="1">
              <a:prstClr val="white"/>
            </a:lnRef>
          </a:top>
          <a:bottom>
            <a:lnRef idx="1">
              <a:prstClr val="white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2"/>
        </a:fillRef>
      </a:tcStyle>
    </a:firstRow>
  </a:tblStyle>
  <a:tblStyle styleId="{CB57D7F2-0E79-4155-BC37-E35B3D52C30B}" styleName="Wiley Default Blue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prstClr val="white"/>
            </a:lnRef>
          </a:left>
          <a:right>
            <a:lnRef idx="1">
              <a:prstClr val="white"/>
            </a:lnRef>
          </a:right>
          <a:top>
            <a:lnRef idx="1">
              <a:prstClr val="white"/>
            </a:lnRef>
          </a:top>
          <a:bottom>
            <a:lnRef idx="1">
              <a:prstClr val="white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3"/>
        </a:fillRef>
      </a:tcStyle>
    </a:firstRow>
  </a:tblStyle>
  <a:tblStyle styleId="{106831FE-B246-4259-80E0-92FF743DC8C9}" styleName="Wiley Full Grid Green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scrgbClr r="80" g="80" b="80"/>
            </a:lnRef>
          </a:left>
          <a:right>
            <a:lnRef idx="1">
              <a:scrgbClr r="80" g="80" b="80"/>
            </a:lnRef>
          </a:right>
          <a:top>
            <a:lnRef idx="1">
              <a:scrgbClr r="80" g="80" b="80"/>
            </a:lnRef>
          </a:top>
          <a:bottom>
            <a:lnRef idx="1">
              <a:scrgbClr r="80" g="80" b="80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1"/>
        </a:fillRef>
      </a:tcStyle>
    </a:firstRow>
  </a:tblStyle>
  <a:tblStyle styleId="{C7088765-6F68-40A2-87F8-C0248722F101}" styleName="Wiley Full Grid Berry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scrgbClr r="80" g="80" b="80"/>
            </a:lnRef>
          </a:left>
          <a:right>
            <a:lnRef idx="1">
              <a:scrgbClr r="80" g="80" b="80"/>
            </a:lnRef>
          </a:right>
          <a:top>
            <a:lnRef idx="1">
              <a:scrgbClr r="80" g="80" b="80"/>
            </a:lnRef>
          </a:top>
          <a:bottom>
            <a:lnRef idx="1">
              <a:scrgbClr r="80" g="80" b="80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2"/>
        </a:fillRef>
      </a:tcStyle>
    </a:firstRow>
  </a:tblStyle>
  <a:tblStyle styleId="{61260389-11B5-4446-AD8B-DE2849B2F32F}" styleName="Wiley Full Grid Blue">
    <a:wholeTbl>
      <a:tcTxStyle>
        <a:fontRef idx="minor">
          <a:scrgbClr r="56" g="56" b="56"/>
        </a:fontRef>
        <a:schemeClr val="tx1"/>
      </a:tcTxStyle>
      <a:tcStyle>
        <a:tcBdr>
          <a:left>
            <a:lnRef idx="1">
              <a:scrgbClr r="80" g="80" b="80"/>
            </a:lnRef>
          </a:left>
          <a:right>
            <a:lnRef idx="1">
              <a:scrgbClr r="80" g="80" b="80"/>
            </a:lnRef>
          </a:right>
          <a:top>
            <a:lnRef idx="1">
              <a:scrgbClr r="80" g="80" b="80"/>
            </a:lnRef>
          </a:top>
          <a:bottom>
            <a:lnRef idx="1">
              <a:scrgbClr r="80" g="80" b="80"/>
            </a:lnRef>
          </a:bottom>
          <a:insideH>
            <a:lnRef idx="1">
              <a:scrgbClr r="80" g="80" b="80"/>
            </a:lnRef>
          </a:insideH>
          <a:insideV>
            <a:lnRef idx="1">
              <a:scrgbClr r="80" g="80" b="80"/>
            </a:lnRef>
          </a:insideV>
        </a:tcBdr>
        <a:fill>
          <a:noFill/>
        </a:fill>
      </a:tcStyle>
    </a:wholeTbl>
    <a:firstRow>
      <a:tcTxStyle b="on">
        <a:fontRef idx="major">
          <a:scrgbClr r="0" g="0" b="0"/>
        </a:fontRef>
        <a:schemeClr val="bg1"/>
      </a:tcTxStyle>
      <a:tcStyle>
        <a:tcBdr>
          <a:bottom>
            <a:lnRef idx="1">
              <a:prstClr val="white"/>
            </a:lnRef>
          </a:bottom>
          <a:insideH>
            <a:lnRef idx="1">
              <a:prstClr val="white"/>
            </a:lnRef>
          </a:insideH>
          <a:insideV>
            <a:lnRef idx="1">
              <a:prstClr val="white"/>
            </a:lnRef>
          </a:insideV>
        </a:tcBdr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7" autoAdjust="0"/>
    <p:restoredTop sz="95130" autoAdjust="0"/>
  </p:normalViewPr>
  <p:slideViewPr>
    <p:cSldViewPr snapToGrid="0">
      <p:cViewPr varScale="1">
        <p:scale>
          <a:sx n="116" d="100"/>
          <a:sy n="116" d="100"/>
        </p:scale>
        <p:origin x="480" y="184"/>
      </p:cViewPr>
      <p:guideLst>
        <p:guide orient="horz" pos="456"/>
        <p:guide pos="48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241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image" Target="../media/image15.jp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image" Target="../media/image15.jp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DB7CB1-CD6D-0E4D-850E-940A4C13EE87}" type="doc">
      <dgm:prSet loTypeId="urn:microsoft.com/office/officeart/2005/8/layout/vList5" loCatId="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1FB6AAEE-E91A-A043-9C66-A9F0CF9BD32F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Communication</a:t>
          </a:r>
        </a:p>
      </dgm:t>
    </dgm:pt>
    <dgm:pt modelId="{715C9FF1-2C26-3741-A5AE-84556CC99CFE}" type="parTrans" cxnId="{B8B12E87-87A1-EB4F-B153-79E6E14CF8F2}">
      <dgm:prSet/>
      <dgm:spPr/>
      <dgm:t>
        <a:bodyPr/>
        <a:lstStyle/>
        <a:p>
          <a:endParaRPr lang="en-US"/>
        </a:p>
      </dgm:t>
    </dgm:pt>
    <dgm:pt modelId="{25BB49A1-F279-D247-AF72-B4740D00C89B}" type="sibTrans" cxnId="{B8B12E87-87A1-EB4F-B153-79E6E14CF8F2}">
      <dgm:prSet/>
      <dgm:spPr/>
      <dgm:t>
        <a:bodyPr/>
        <a:lstStyle/>
        <a:p>
          <a:endParaRPr lang="en-US"/>
        </a:p>
      </dgm:t>
    </dgm:pt>
    <dgm:pt modelId="{62B8EDEB-9EB3-E24B-B670-F244B8F00E8B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The accessibility of all internal and external communications, as well as a11y information that is conveyed to customers.</a:t>
          </a:r>
        </a:p>
      </dgm:t>
    </dgm:pt>
    <dgm:pt modelId="{4C78F5CD-E4F1-D144-A0AA-DFD634329B50}" type="parTrans" cxnId="{7580A60D-B027-2546-B221-123A153C5288}">
      <dgm:prSet/>
      <dgm:spPr/>
      <dgm:t>
        <a:bodyPr/>
        <a:lstStyle/>
        <a:p>
          <a:endParaRPr lang="en-US"/>
        </a:p>
      </dgm:t>
    </dgm:pt>
    <dgm:pt modelId="{B31A82A8-8457-F248-B7D0-FFF10AE812E1}" type="sibTrans" cxnId="{7580A60D-B027-2546-B221-123A153C5288}">
      <dgm:prSet/>
      <dgm:spPr/>
      <dgm:t>
        <a:bodyPr/>
        <a:lstStyle/>
        <a:p>
          <a:endParaRPr lang="en-US"/>
        </a:p>
      </dgm:t>
    </dgm:pt>
    <dgm:pt modelId="{8A5585B1-2180-4E4D-AB45-8A88F0AA8D65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Knowledge &amp; skills</a:t>
          </a:r>
        </a:p>
      </dgm:t>
    </dgm:pt>
    <dgm:pt modelId="{0858BFD9-54E8-F94C-9A54-D65D9836B752}" type="parTrans" cxnId="{B5A36C91-538B-DF4F-B333-948EBE8BC50C}">
      <dgm:prSet/>
      <dgm:spPr/>
      <dgm:t>
        <a:bodyPr/>
        <a:lstStyle/>
        <a:p>
          <a:endParaRPr lang="en-US"/>
        </a:p>
      </dgm:t>
    </dgm:pt>
    <dgm:pt modelId="{22EBF6B7-A11A-2440-8102-5F855B72FEAB}" type="sibTrans" cxnId="{B5A36C91-538B-DF4F-B333-948EBE8BC50C}">
      <dgm:prSet/>
      <dgm:spPr/>
      <dgm:t>
        <a:bodyPr/>
        <a:lstStyle/>
        <a:p>
          <a:endParaRPr lang="en-US"/>
        </a:p>
      </dgm:t>
    </dgm:pt>
    <dgm:pt modelId="{A100326A-C752-1848-8C83-04DA0ECBA762}">
      <dgm:prSet phldrT="[Text]" custT="1"/>
      <dgm:spPr/>
      <dgm:t>
        <a:bodyPr/>
        <a:lstStyle/>
        <a:p>
          <a:r>
            <a:rPr lang="en-GB" sz="1600" i="0" dirty="0">
              <a:solidFill>
                <a:schemeClr val="tx1"/>
              </a:solidFill>
            </a:rPr>
            <a:t>Ongoing colleague education to build a11y awareness and fill a11y knowledge and skill gaps. </a:t>
          </a:r>
          <a:endParaRPr lang="en-US" sz="1600" dirty="0">
            <a:solidFill>
              <a:schemeClr val="tx1"/>
            </a:solidFill>
          </a:endParaRPr>
        </a:p>
      </dgm:t>
    </dgm:pt>
    <dgm:pt modelId="{9FB38648-E054-3F4C-B508-74FA06A01FD4}" type="parTrans" cxnId="{4A7DD6F0-C647-3547-BD09-805758D06C19}">
      <dgm:prSet/>
      <dgm:spPr/>
      <dgm:t>
        <a:bodyPr/>
        <a:lstStyle/>
        <a:p>
          <a:endParaRPr lang="en-US"/>
        </a:p>
      </dgm:t>
    </dgm:pt>
    <dgm:pt modelId="{803CFA31-8C7A-4449-A3E0-A6C48A3D00EF}" type="sibTrans" cxnId="{4A7DD6F0-C647-3547-BD09-805758D06C19}">
      <dgm:prSet/>
      <dgm:spPr/>
      <dgm:t>
        <a:bodyPr/>
        <a:lstStyle/>
        <a:p>
          <a:endParaRPr lang="en-US"/>
        </a:p>
      </dgm:t>
    </dgm:pt>
    <dgm:pt modelId="{C8D80A89-3A86-1E41-A9EF-6782FFF521A4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Customer support</a:t>
          </a:r>
        </a:p>
      </dgm:t>
    </dgm:pt>
    <dgm:pt modelId="{40C6EBB4-F59F-6447-B325-2AA65D1D89ED}" type="parTrans" cxnId="{0F6FE3DE-9606-AD4C-8D65-249776A2B3F5}">
      <dgm:prSet/>
      <dgm:spPr/>
      <dgm:t>
        <a:bodyPr/>
        <a:lstStyle/>
        <a:p>
          <a:endParaRPr lang="en-US"/>
        </a:p>
      </dgm:t>
    </dgm:pt>
    <dgm:pt modelId="{6EE21AFC-D666-AF48-96AC-740A673C7CDE}" type="sibTrans" cxnId="{0F6FE3DE-9606-AD4C-8D65-249776A2B3F5}">
      <dgm:prSet/>
      <dgm:spPr/>
      <dgm:t>
        <a:bodyPr/>
        <a:lstStyle/>
        <a:p>
          <a:endParaRPr lang="en-US"/>
        </a:p>
      </dgm:t>
    </dgm:pt>
    <dgm:pt modelId="{A6C2C3EB-5635-A84A-983B-C04D9C1CFEBC}">
      <dgm:prSet phldrT="[Text]" custT="1"/>
      <dgm:spPr/>
      <dgm:t>
        <a:bodyPr/>
        <a:lstStyle/>
        <a:p>
          <a:r>
            <a:rPr lang="en-GB" sz="1600" i="0" dirty="0">
              <a:solidFill>
                <a:schemeClr val="tx1"/>
              </a:solidFill>
            </a:rPr>
            <a:t>Accessibility assistance provided to customers with disabilities.</a:t>
          </a:r>
          <a:endParaRPr lang="en-US" sz="1600" dirty="0">
            <a:solidFill>
              <a:schemeClr val="tx1"/>
            </a:solidFill>
          </a:endParaRPr>
        </a:p>
      </dgm:t>
    </dgm:pt>
    <dgm:pt modelId="{31304006-49C8-2942-AF08-24163A34A59B}" type="parTrans" cxnId="{16926818-506D-5744-8801-23C1AF266475}">
      <dgm:prSet/>
      <dgm:spPr/>
      <dgm:t>
        <a:bodyPr/>
        <a:lstStyle/>
        <a:p>
          <a:endParaRPr lang="en-US"/>
        </a:p>
      </dgm:t>
    </dgm:pt>
    <dgm:pt modelId="{9E386079-582B-3C47-BF5B-D41FEA8C2228}" type="sibTrans" cxnId="{16926818-506D-5744-8801-23C1AF266475}">
      <dgm:prSet/>
      <dgm:spPr/>
      <dgm:t>
        <a:bodyPr/>
        <a:lstStyle/>
        <a:p>
          <a:endParaRPr lang="en-US"/>
        </a:p>
      </dgm:t>
    </dgm:pt>
    <dgm:pt modelId="{463E7B77-D086-FF4C-BDC3-68C8318EE464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ICT development lifecycle</a:t>
          </a:r>
        </a:p>
      </dgm:t>
    </dgm:pt>
    <dgm:pt modelId="{DB66228F-16C4-AB4D-8436-B2E350B87F09}" type="parTrans" cxnId="{8FE1BE4E-4492-9845-BDBF-DDF29387B728}">
      <dgm:prSet/>
      <dgm:spPr/>
      <dgm:t>
        <a:bodyPr/>
        <a:lstStyle/>
        <a:p>
          <a:endParaRPr lang="en-US"/>
        </a:p>
      </dgm:t>
    </dgm:pt>
    <dgm:pt modelId="{1FD294F3-883A-4447-800D-3655644BEA29}" type="sibTrans" cxnId="{8FE1BE4E-4492-9845-BDBF-DDF29387B728}">
      <dgm:prSet/>
      <dgm:spPr/>
      <dgm:t>
        <a:bodyPr/>
        <a:lstStyle/>
        <a:p>
          <a:endParaRPr lang="en-US"/>
        </a:p>
      </dgm:t>
    </dgm:pt>
    <dgm:pt modelId="{9D748E47-3DFB-A446-ADD8-AEA326FD96A8}">
      <dgm:prSet phldrT="[Text]" custT="1"/>
      <dgm:spPr/>
      <dgm:t>
        <a:bodyPr/>
        <a:lstStyle/>
        <a:p>
          <a:r>
            <a:rPr lang="en-US" sz="1600" b="0" i="0" u="none" dirty="0">
              <a:solidFill>
                <a:schemeClr val="tx1"/>
              </a:solidFill>
            </a:rPr>
            <a:t>Incorporation of web/software/hardware a11y considerations in ICT processes from conception to maintenance &amp; obsolescence.</a:t>
          </a:r>
          <a:endParaRPr lang="en-US" sz="1600" dirty="0">
            <a:solidFill>
              <a:schemeClr val="tx1"/>
            </a:solidFill>
          </a:endParaRPr>
        </a:p>
      </dgm:t>
    </dgm:pt>
    <dgm:pt modelId="{A31E0670-2831-AE49-82B1-215D58E17AD3}" type="parTrans" cxnId="{6E4D5577-2A1E-F245-A146-E8C5A6F67039}">
      <dgm:prSet/>
      <dgm:spPr/>
      <dgm:t>
        <a:bodyPr/>
        <a:lstStyle/>
        <a:p>
          <a:endParaRPr lang="en-US"/>
        </a:p>
      </dgm:t>
    </dgm:pt>
    <dgm:pt modelId="{5891E376-4F10-BA44-ADF5-C6E6415C8348}" type="sibTrans" cxnId="{6E4D5577-2A1E-F245-A146-E8C5A6F67039}">
      <dgm:prSet/>
      <dgm:spPr/>
      <dgm:t>
        <a:bodyPr/>
        <a:lstStyle/>
        <a:p>
          <a:endParaRPr lang="en-US"/>
        </a:p>
      </dgm:t>
    </dgm:pt>
    <dgm:pt modelId="{9698DF68-BD1B-6845-83CE-57968DFB76E4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Personnel</a:t>
          </a:r>
        </a:p>
      </dgm:t>
    </dgm:pt>
    <dgm:pt modelId="{A57F63A9-189E-B346-93AB-23C2107F1E6A}" type="parTrans" cxnId="{0CE5A6BC-779D-9B49-BC0F-CFE1A9B53C4B}">
      <dgm:prSet/>
      <dgm:spPr/>
      <dgm:t>
        <a:bodyPr/>
        <a:lstStyle/>
        <a:p>
          <a:endParaRPr lang="en-US"/>
        </a:p>
      </dgm:t>
    </dgm:pt>
    <dgm:pt modelId="{A3148EA9-4F2B-814C-9022-C361AF0E97F9}" type="sibTrans" cxnId="{0CE5A6BC-779D-9B49-BC0F-CFE1A9B53C4B}">
      <dgm:prSet/>
      <dgm:spPr/>
      <dgm:t>
        <a:bodyPr/>
        <a:lstStyle/>
        <a:p>
          <a:endParaRPr lang="en-US"/>
        </a:p>
      </dgm:t>
    </dgm:pt>
    <dgm:pt modelId="{B74AEDC5-BB6C-0642-AB16-55E5D40ECB13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Employee application and retention best practices designed to ensure that all colleagues are supported regardless of ability.</a:t>
          </a:r>
        </a:p>
      </dgm:t>
    </dgm:pt>
    <dgm:pt modelId="{D9339FA2-8813-FC43-979F-30C7CC472054}" type="parTrans" cxnId="{BAA2A400-7E54-604B-B4A8-ED8822634055}">
      <dgm:prSet/>
      <dgm:spPr/>
      <dgm:t>
        <a:bodyPr/>
        <a:lstStyle/>
        <a:p>
          <a:endParaRPr lang="en-US"/>
        </a:p>
      </dgm:t>
    </dgm:pt>
    <dgm:pt modelId="{36A15B76-FA37-4E48-AE28-FB5F363FF3ED}" type="sibTrans" cxnId="{BAA2A400-7E54-604B-B4A8-ED8822634055}">
      <dgm:prSet/>
      <dgm:spPr/>
      <dgm:t>
        <a:bodyPr/>
        <a:lstStyle/>
        <a:p>
          <a:endParaRPr lang="en-US"/>
        </a:p>
      </dgm:t>
    </dgm:pt>
    <dgm:pt modelId="{F4DC3C7A-B056-9146-87A5-AFE650EDBA8D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Procurement</a:t>
          </a:r>
        </a:p>
      </dgm:t>
    </dgm:pt>
    <dgm:pt modelId="{62A793A7-2F3A-B347-B135-05F7B5CC3F45}" type="parTrans" cxnId="{9F882AB3-6584-3F43-BF5C-CF013F259862}">
      <dgm:prSet/>
      <dgm:spPr/>
      <dgm:t>
        <a:bodyPr/>
        <a:lstStyle/>
        <a:p>
          <a:endParaRPr lang="en-US"/>
        </a:p>
      </dgm:t>
    </dgm:pt>
    <dgm:pt modelId="{C2ECFD20-FC98-AF4B-8CDB-F88622415B52}" type="sibTrans" cxnId="{9F882AB3-6584-3F43-BF5C-CF013F259862}">
      <dgm:prSet/>
      <dgm:spPr/>
      <dgm:t>
        <a:bodyPr/>
        <a:lstStyle/>
        <a:p>
          <a:endParaRPr lang="en-US"/>
        </a:p>
      </dgm:t>
    </dgm:pt>
    <dgm:pt modelId="{95D09DBC-2817-3640-AE40-FADA43D4A1EE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A strategic process that concentrates on finding and acquiring accessible products and services.</a:t>
          </a:r>
        </a:p>
      </dgm:t>
    </dgm:pt>
    <dgm:pt modelId="{029379AC-3A20-F544-BB55-1D08D399B86A}" type="parTrans" cxnId="{55916531-ACAE-384E-9E57-71A2DE1CD087}">
      <dgm:prSet/>
      <dgm:spPr/>
      <dgm:t>
        <a:bodyPr/>
        <a:lstStyle/>
        <a:p>
          <a:endParaRPr lang="en-US"/>
        </a:p>
      </dgm:t>
    </dgm:pt>
    <dgm:pt modelId="{C44A3EBB-9850-DC4D-9598-B6A8E8601D58}" type="sibTrans" cxnId="{55916531-ACAE-384E-9E57-71A2DE1CD087}">
      <dgm:prSet/>
      <dgm:spPr/>
      <dgm:t>
        <a:bodyPr/>
        <a:lstStyle/>
        <a:p>
          <a:endParaRPr lang="en-US"/>
        </a:p>
      </dgm:t>
    </dgm:pt>
    <dgm:pt modelId="{3C894B29-C04E-D842-BDB1-D4566A3BAC49}">
      <dgm:prSet phldrT="[Text]" custT="1"/>
      <dgm:spPr/>
      <dgm:t>
        <a:bodyPr/>
        <a:lstStyle/>
        <a:p>
          <a:r>
            <a:rPr lang="en-US" sz="1600" dirty="0">
              <a:solidFill>
                <a:schemeClr val="tx1"/>
              </a:solidFill>
            </a:rPr>
            <a:t>The attitudes, sensitivity, and behaviors around accessibility, including internal interaction, perception, and decision-making.</a:t>
          </a:r>
        </a:p>
      </dgm:t>
    </dgm:pt>
    <dgm:pt modelId="{7E7E73A3-5A08-6741-860F-ED361AA54CC6}" type="parTrans" cxnId="{3205D09F-9D5F-864D-8CEC-CF50E12E4FE9}">
      <dgm:prSet/>
      <dgm:spPr/>
      <dgm:t>
        <a:bodyPr/>
        <a:lstStyle/>
        <a:p>
          <a:endParaRPr lang="en-US"/>
        </a:p>
      </dgm:t>
    </dgm:pt>
    <dgm:pt modelId="{10AA7BDB-DB05-6345-83D5-BB856DA56148}" type="sibTrans" cxnId="{3205D09F-9D5F-864D-8CEC-CF50E12E4FE9}">
      <dgm:prSet/>
      <dgm:spPr/>
      <dgm:t>
        <a:bodyPr/>
        <a:lstStyle/>
        <a:p>
          <a:endParaRPr lang="en-US"/>
        </a:p>
      </dgm:t>
    </dgm:pt>
    <dgm:pt modelId="{6508DF24-8A8C-AD4E-BA62-648F26902315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2000" dirty="0"/>
            <a:t>Culture</a:t>
          </a:r>
        </a:p>
      </dgm:t>
    </dgm:pt>
    <dgm:pt modelId="{44D3E0DE-9723-ED41-A0A7-3570128AFA8F}" type="sibTrans" cxnId="{AE622A40-218A-D849-A6D9-2BECC1DEE153}">
      <dgm:prSet/>
      <dgm:spPr/>
      <dgm:t>
        <a:bodyPr/>
        <a:lstStyle/>
        <a:p>
          <a:endParaRPr lang="en-US"/>
        </a:p>
      </dgm:t>
    </dgm:pt>
    <dgm:pt modelId="{905F8E63-D4CF-534E-AF90-567E4F99B9D3}" type="parTrans" cxnId="{AE622A40-218A-D849-A6D9-2BECC1DEE153}">
      <dgm:prSet/>
      <dgm:spPr/>
      <dgm:t>
        <a:bodyPr/>
        <a:lstStyle/>
        <a:p>
          <a:endParaRPr lang="en-US"/>
        </a:p>
      </dgm:t>
    </dgm:pt>
    <dgm:pt modelId="{56B2C215-8D46-1E4D-A12B-8E03B7D46121}" type="pres">
      <dgm:prSet presAssocID="{5FDB7CB1-CD6D-0E4D-850E-940A4C13EE87}" presName="Name0" presStyleCnt="0">
        <dgm:presLayoutVars>
          <dgm:dir/>
          <dgm:animLvl val="lvl"/>
          <dgm:resizeHandles val="exact"/>
        </dgm:presLayoutVars>
      </dgm:prSet>
      <dgm:spPr/>
    </dgm:pt>
    <dgm:pt modelId="{128B906F-55CC-5943-92AE-E9187C566D2F}" type="pres">
      <dgm:prSet presAssocID="{1FB6AAEE-E91A-A043-9C66-A9F0CF9BD32F}" presName="linNode" presStyleCnt="0"/>
      <dgm:spPr/>
    </dgm:pt>
    <dgm:pt modelId="{5CD1EDB9-9D59-F348-BF8E-499C18BE82CF}" type="pres">
      <dgm:prSet presAssocID="{1FB6AAEE-E91A-A043-9C66-A9F0CF9BD32F}" presName="parentText" presStyleLbl="node1" presStyleIdx="0" presStyleCnt="7" custScaleX="99926">
        <dgm:presLayoutVars>
          <dgm:chMax val="1"/>
          <dgm:bulletEnabled val="1"/>
        </dgm:presLayoutVars>
      </dgm:prSet>
      <dgm:spPr/>
    </dgm:pt>
    <dgm:pt modelId="{EDCEC9FF-4638-3E41-8FEA-74485687C8B3}" type="pres">
      <dgm:prSet presAssocID="{1FB6AAEE-E91A-A043-9C66-A9F0CF9BD32F}" presName="descendantText" presStyleLbl="alignAccFollowNode1" presStyleIdx="0" presStyleCnt="7" custScaleX="137907">
        <dgm:presLayoutVars>
          <dgm:bulletEnabled val="1"/>
        </dgm:presLayoutVars>
      </dgm:prSet>
      <dgm:spPr/>
    </dgm:pt>
    <dgm:pt modelId="{CEEB6782-54BA-C74F-9BE7-EF28F8B4B832}" type="pres">
      <dgm:prSet presAssocID="{25BB49A1-F279-D247-AF72-B4740D00C89B}" presName="sp" presStyleCnt="0"/>
      <dgm:spPr/>
    </dgm:pt>
    <dgm:pt modelId="{F01CD0C9-1D08-1743-A201-19D4C5F7A281}" type="pres">
      <dgm:prSet presAssocID="{8A5585B1-2180-4E4D-AB45-8A88F0AA8D65}" presName="linNode" presStyleCnt="0"/>
      <dgm:spPr/>
    </dgm:pt>
    <dgm:pt modelId="{43AEC466-33F8-BF49-960C-7244AC77F425}" type="pres">
      <dgm:prSet presAssocID="{8A5585B1-2180-4E4D-AB45-8A88F0AA8D65}" presName="parentText" presStyleLbl="node1" presStyleIdx="1" presStyleCnt="7" custScaleX="99926">
        <dgm:presLayoutVars>
          <dgm:chMax val="1"/>
          <dgm:bulletEnabled val="1"/>
        </dgm:presLayoutVars>
      </dgm:prSet>
      <dgm:spPr/>
    </dgm:pt>
    <dgm:pt modelId="{9BB40BA9-3D0A-D74F-B03A-8222386DC2FE}" type="pres">
      <dgm:prSet presAssocID="{8A5585B1-2180-4E4D-AB45-8A88F0AA8D65}" presName="descendantText" presStyleLbl="alignAccFollowNode1" presStyleIdx="1" presStyleCnt="7" custScaleX="137907">
        <dgm:presLayoutVars>
          <dgm:bulletEnabled val="1"/>
        </dgm:presLayoutVars>
      </dgm:prSet>
      <dgm:spPr/>
    </dgm:pt>
    <dgm:pt modelId="{E7A15F01-69CC-3A4A-A2B2-EEE389B78F46}" type="pres">
      <dgm:prSet presAssocID="{22EBF6B7-A11A-2440-8102-5F855B72FEAB}" presName="sp" presStyleCnt="0"/>
      <dgm:spPr/>
    </dgm:pt>
    <dgm:pt modelId="{CCEA931B-9600-3B49-957C-EA606F9887FE}" type="pres">
      <dgm:prSet presAssocID="{C8D80A89-3A86-1E41-A9EF-6782FFF521A4}" presName="linNode" presStyleCnt="0"/>
      <dgm:spPr/>
    </dgm:pt>
    <dgm:pt modelId="{947B7BEA-2B2D-D149-8DF7-760919732A4F}" type="pres">
      <dgm:prSet presAssocID="{C8D80A89-3A86-1E41-A9EF-6782FFF521A4}" presName="parentText" presStyleLbl="node1" presStyleIdx="2" presStyleCnt="7" custScaleX="99926">
        <dgm:presLayoutVars>
          <dgm:chMax val="1"/>
          <dgm:bulletEnabled val="1"/>
        </dgm:presLayoutVars>
      </dgm:prSet>
      <dgm:spPr/>
    </dgm:pt>
    <dgm:pt modelId="{1431AC90-64E3-F14D-A40B-2D6F995F81B3}" type="pres">
      <dgm:prSet presAssocID="{C8D80A89-3A86-1E41-A9EF-6782FFF521A4}" presName="descendantText" presStyleLbl="alignAccFollowNode1" presStyleIdx="2" presStyleCnt="7" custScaleX="137907">
        <dgm:presLayoutVars>
          <dgm:bulletEnabled val="1"/>
        </dgm:presLayoutVars>
      </dgm:prSet>
      <dgm:spPr/>
    </dgm:pt>
    <dgm:pt modelId="{E8402811-017A-A347-ABC9-689E704F0CDE}" type="pres">
      <dgm:prSet presAssocID="{6EE21AFC-D666-AF48-96AC-740A673C7CDE}" presName="sp" presStyleCnt="0"/>
      <dgm:spPr/>
    </dgm:pt>
    <dgm:pt modelId="{441675B2-73E4-AE44-97EF-C7D0768B85AC}" type="pres">
      <dgm:prSet presAssocID="{463E7B77-D086-FF4C-BDC3-68C8318EE464}" presName="linNode" presStyleCnt="0"/>
      <dgm:spPr/>
    </dgm:pt>
    <dgm:pt modelId="{DC2C19D6-460D-B84D-A5F1-661A10115421}" type="pres">
      <dgm:prSet presAssocID="{463E7B77-D086-FF4C-BDC3-68C8318EE464}" presName="parentText" presStyleLbl="node1" presStyleIdx="3" presStyleCnt="7" custScaleX="99926">
        <dgm:presLayoutVars>
          <dgm:chMax val="1"/>
          <dgm:bulletEnabled val="1"/>
        </dgm:presLayoutVars>
      </dgm:prSet>
      <dgm:spPr/>
    </dgm:pt>
    <dgm:pt modelId="{921E4C4E-6C41-0345-8969-9106695913E0}" type="pres">
      <dgm:prSet presAssocID="{463E7B77-D086-FF4C-BDC3-68C8318EE464}" presName="descendantText" presStyleLbl="alignAccFollowNode1" presStyleIdx="3" presStyleCnt="7" custScaleX="137907">
        <dgm:presLayoutVars>
          <dgm:bulletEnabled val="1"/>
        </dgm:presLayoutVars>
      </dgm:prSet>
      <dgm:spPr/>
    </dgm:pt>
    <dgm:pt modelId="{BB19B829-2645-9A4F-B29E-553F080C048B}" type="pres">
      <dgm:prSet presAssocID="{1FD294F3-883A-4447-800D-3655644BEA29}" presName="sp" presStyleCnt="0"/>
      <dgm:spPr/>
    </dgm:pt>
    <dgm:pt modelId="{D0FFAAF6-E3CD-3840-A5E7-382D309D4389}" type="pres">
      <dgm:prSet presAssocID="{9698DF68-BD1B-6845-83CE-57968DFB76E4}" presName="linNode" presStyleCnt="0"/>
      <dgm:spPr/>
    </dgm:pt>
    <dgm:pt modelId="{69D9BAD7-14B5-C046-81C5-EA1D15EA3AA8}" type="pres">
      <dgm:prSet presAssocID="{9698DF68-BD1B-6845-83CE-57968DFB76E4}" presName="parentText" presStyleLbl="node1" presStyleIdx="4" presStyleCnt="7" custScaleX="99926">
        <dgm:presLayoutVars>
          <dgm:chMax val="1"/>
          <dgm:bulletEnabled val="1"/>
        </dgm:presLayoutVars>
      </dgm:prSet>
      <dgm:spPr/>
    </dgm:pt>
    <dgm:pt modelId="{0159831E-10B0-0849-9FE1-3C62584DCAAA}" type="pres">
      <dgm:prSet presAssocID="{9698DF68-BD1B-6845-83CE-57968DFB76E4}" presName="descendantText" presStyleLbl="alignAccFollowNode1" presStyleIdx="4" presStyleCnt="7" custScaleX="137907">
        <dgm:presLayoutVars>
          <dgm:bulletEnabled val="1"/>
        </dgm:presLayoutVars>
      </dgm:prSet>
      <dgm:spPr/>
    </dgm:pt>
    <dgm:pt modelId="{8E995FA1-9B9B-FC4E-979D-5D1210912E33}" type="pres">
      <dgm:prSet presAssocID="{A3148EA9-4F2B-814C-9022-C361AF0E97F9}" presName="sp" presStyleCnt="0"/>
      <dgm:spPr/>
    </dgm:pt>
    <dgm:pt modelId="{4A1833CC-1BDD-3748-AED0-D9D1E9261E87}" type="pres">
      <dgm:prSet presAssocID="{F4DC3C7A-B056-9146-87A5-AFE650EDBA8D}" presName="linNode" presStyleCnt="0"/>
      <dgm:spPr/>
    </dgm:pt>
    <dgm:pt modelId="{300EA6BB-264F-C147-A87B-0E442F24934B}" type="pres">
      <dgm:prSet presAssocID="{F4DC3C7A-B056-9146-87A5-AFE650EDBA8D}" presName="parentText" presStyleLbl="node1" presStyleIdx="5" presStyleCnt="7" custScaleX="99926">
        <dgm:presLayoutVars>
          <dgm:chMax val="1"/>
          <dgm:bulletEnabled val="1"/>
        </dgm:presLayoutVars>
      </dgm:prSet>
      <dgm:spPr/>
    </dgm:pt>
    <dgm:pt modelId="{F67D2AD7-A9BA-1F4E-B7E7-47386DBC8380}" type="pres">
      <dgm:prSet presAssocID="{F4DC3C7A-B056-9146-87A5-AFE650EDBA8D}" presName="descendantText" presStyleLbl="alignAccFollowNode1" presStyleIdx="5" presStyleCnt="7" custScaleX="137907">
        <dgm:presLayoutVars>
          <dgm:bulletEnabled val="1"/>
        </dgm:presLayoutVars>
      </dgm:prSet>
      <dgm:spPr/>
    </dgm:pt>
    <dgm:pt modelId="{88E58D21-2E11-774F-867A-EB85F961132F}" type="pres">
      <dgm:prSet presAssocID="{C2ECFD20-FC98-AF4B-8CDB-F88622415B52}" presName="sp" presStyleCnt="0"/>
      <dgm:spPr/>
    </dgm:pt>
    <dgm:pt modelId="{9C4E2B32-9B56-C643-8FA7-7AE7195F68BB}" type="pres">
      <dgm:prSet presAssocID="{6508DF24-8A8C-AD4E-BA62-648F26902315}" presName="linNode" presStyleCnt="0"/>
      <dgm:spPr/>
    </dgm:pt>
    <dgm:pt modelId="{CE67FFA1-7782-A647-874B-002FD8362C4B}" type="pres">
      <dgm:prSet presAssocID="{6508DF24-8A8C-AD4E-BA62-648F26902315}" presName="parentText" presStyleLbl="node1" presStyleIdx="6" presStyleCnt="7" custScaleX="99926">
        <dgm:presLayoutVars>
          <dgm:chMax val="1"/>
          <dgm:bulletEnabled val="1"/>
        </dgm:presLayoutVars>
      </dgm:prSet>
      <dgm:spPr/>
    </dgm:pt>
    <dgm:pt modelId="{66FFC680-CB95-FC49-8D2D-1846A64FA5C8}" type="pres">
      <dgm:prSet presAssocID="{6508DF24-8A8C-AD4E-BA62-648F26902315}" presName="descendantText" presStyleLbl="alignAccFollowNode1" presStyleIdx="6" presStyleCnt="7" custScaleX="137907">
        <dgm:presLayoutVars>
          <dgm:bulletEnabled val="1"/>
        </dgm:presLayoutVars>
      </dgm:prSet>
      <dgm:spPr/>
    </dgm:pt>
  </dgm:ptLst>
  <dgm:cxnLst>
    <dgm:cxn modelId="{BAA2A400-7E54-604B-B4A8-ED8822634055}" srcId="{9698DF68-BD1B-6845-83CE-57968DFB76E4}" destId="{B74AEDC5-BB6C-0642-AB16-55E5D40ECB13}" srcOrd="0" destOrd="0" parTransId="{D9339FA2-8813-FC43-979F-30C7CC472054}" sibTransId="{36A15B76-FA37-4E48-AE28-FB5F363FF3ED}"/>
    <dgm:cxn modelId="{CAEE440B-8AD6-9B49-8CCB-F399B285A95C}" type="presOf" srcId="{A100326A-C752-1848-8C83-04DA0ECBA762}" destId="{9BB40BA9-3D0A-D74F-B03A-8222386DC2FE}" srcOrd="0" destOrd="0" presId="urn:microsoft.com/office/officeart/2005/8/layout/vList5"/>
    <dgm:cxn modelId="{2A5F570C-33D0-DE4D-BE0D-E2A9C42F4ED4}" type="presOf" srcId="{C8D80A89-3A86-1E41-A9EF-6782FFF521A4}" destId="{947B7BEA-2B2D-D149-8DF7-760919732A4F}" srcOrd="0" destOrd="0" presId="urn:microsoft.com/office/officeart/2005/8/layout/vList5"/>
    <dgm:cxn modelId="{7580A60D-B027-2546-B221-123A153C5288}" srcId="{1FB6AAEE-E91A-A043-9C66-A9F0CF9BD32F}" destId="{62B8EDEB-9EB3-E24B-B670-F244B8F00E8B}" srcOrd="0" destOrd="0" parTransId="{4C78F5CD-E4F1-D144-A0AA-DFD634329B50}" sibTransId="{B31A82A8-8457-F248-B7D0-FFF10AE812E1}"/>
    <dgm:cxn modelId="{16926818-506D-5744-8801-23C1AF266475}" srcId="{C8D80A89-3A86-1E41-A9EF-6782FFF521A4}" destId="{A6C2C3EB-5635-A84A-983B-C04D9C1CFEBC}" srcOrd="0" destOrd="0" parTransId="{31304006-49C8-2942-AF08-24163A34A59B}" sibTransId="{9E386079-582B-3C47-BF5B-D41FEA8C2228}"/>
    <dgm:cxn modelId="{FFF20423-A6EE-A14D-9296-4280C6299449}" type="presOf" srcId="{6508DF24-8A8C-AD4E-BA62-648F26902315}" destId="{CE67FFA1-7782-A647-874B-002FD8362C4B}" srcOrd="0" destOrd="0" presId="urn:microsoft.com/office/officeart/2005/8/layout/vList5"/>
    <dgm:cxn modelId="{2C7B1528-3640-A243-B83B-D57E33E0ED11}" type="presOf" srcId="{B74AEDC5-BB6C-0642-AB16-55E5D40ECB13}" destId="{0159831E-10B0-0849-9FE1-3C62584DCAAA}" srcOrd="0" destOrd="0" presId="urn:microsoft.com/office/officeart/2005/8/layout/vList5"/>
    <dgm:cxn modelId="{D6772129-6592-3848-A662-40C0EC1DF4CA}" type="presOf" srcId="{8A5585B1-2180-4E4D-AB45-8A88F0AA8D65}" destId="{43AEC466-33F8-BF49-960C-7244AC77F425}" srcOrd="0" destOrd="0" presId="urn:microsoft.com/office/officeart/2005/8/layout/vList5"/>
    <dgm:cxn modelId="{55916531-ACAE-384E-9E57-71A2DE1CD087}" srcId="{F4DC3C7A-B056-9146-87A5-AFE650EDBA8D}" destId="{95D09DBC-2817-3640-AE40-FADA43D4A1EE}" srcOrd="0" destOrd="0" parTransId="{029379AC-3A20-F544-BB55-1D08D399B86A}" sibTransId="{C44A3EBB-9850-DC4D-9598-B6A8E8601D58}"/>
    <dgm:cxn modelId="{AE622A40-218A-D849-A6D9-2BECC1DEE153}" srcId="{5FDB7CB1-CD6D-0E4D-850E-940A4C13EE87}" destId="{6508DF24-8A8C-AD4E-BA62-648F26902315}" srcOrd="6" destOrd="0" parTransId="{905F8E63-D4CF-534E-AF90-567E4F99B9D3}" sibTransId="{44D3E0DE-9723-ED41-A0A7-3570128AFA8F}"/>
    <dgm:cxn modelId="{8FE1BE4E-4492-9845-BDBF-DDF29387B728}" srcId="{5FDB7CB1-CD6D-0E4D-850E-940A4C13EE87}" destId="{463E7B77-D086-FF4C-BDC3-68C8318EE464}" srcOrd="3" destOrd="0" parTransId="{DB66228F-16C4-AB4D-8436-B2E350B87F09}" sibTransId="{1FD294F3-883A-4447-800D-3655644BEA29}"/>
    <dgm:cxn modelId="{88E97867-8C7B-8D46-852A-6293366AAEB2}" type="presOf" srcId="{95D09DBC-2817-3640-AE40-FADA43D4A1EE}" destId="{F67D2AD7-A9BA-1F4E-B7E7-47386DBC8380}" srcOrd="0" destOrd="0" presId="urn:microsoft.com/office/officeart/2005/8/layout/vList5"/>
    <dgm:cxn modelId="{E2EAB376-6B2F-9B4D-B2D2-11E8D71F1542}" type="presOf" srcId="{463E7B77-D086-FF4C-BDC3-68C8318EE464}" destId="{DC2C19D6-460D-B84D-A5F1-661A10115421}" srcOrd="0" destOrd="0" presId="urn:microsoft.com/office/officeart/2005/8/layout/vList5"/>
    <dgm:cxn modelId="{6E4D5577-2A1E-F245-A146-E8C5A6F67039}" srcId="{463E7B77-D086-FF4C-BDC3-68C8318EE464}" destId="{9D748E47-3DFB-A446-ADD8-AEA326FD96A8}" srcOrd="0" destOrd="0" parTransId="{A31E0670-2831-AE49-82B1-215D58E17AD3}" sibTransId="{5891E376-4F10-BA44-ADF5-C6E6415C8348}"/>
    <dgm:cxn modelId="{B8B12E87-87A1-EB4F-B153-79E6E14CF8F2}" srcId="{5FDB7CB1-CD6D-0E4D-850E-940A4C13EE87}" destId="{1FB6AAEE-E91A-A043-9C66-A9F0CF9BD32F}" srcOrd="0" destOrd="0" parTransId="{715C9FF1-2C26-3741-A5AE-84556CC99CFE}" sibTransId="{25BB49A1-F279-D247-AF72-B4740D00C89B}"/>
    <dgm:cxn modelId="{B5A36C91-538B-DF4F-B333-948EBE8BC50C}" srcId="{5FDB7CB1-CD6D-0E4D-850E-940A4C13EE87}" destId="{8A5585B1-2180-4E4D-AB45-8A88F0AA8D65}" srcOrd="1" destOrd="0" parTransId="{0858BFD9-54E8-F94C-9A54-D65D9836B752}" sibTransId="{22EBF6B7-A11A-2440-8102-5F855B72FEAB}"/>
    <dgm:cxn modelId="{C1595A97-1A5E-C44B-8240-3D063483637E}" type="presOf" srcId="{1FB6AAEE-E91A-A043-9C66-A9F0CF9BD32F}" destId="{5CD1EDB9-9D59-F348-BF8E-499C18BE82CF}" srcOrd="0" destOrd="0" presId="urn:microsoft.com/office/officeart/2005/8/layout/vList5"/>
    <dgm:cxn modelId="{3205D09F-9D5F-864D-8CEC-CF50E12E4FE9}" srcId="{6508DF24-8A8C-AD4E-BA62-648F26902315}" destId="{3C894B29-C04E-D842-BDB1-D4566A3BAC49}" srcOrd="0" destOrd="0" parTransId="{7E7E73A3-5A08-6741-860F-ED361AA54CC6}" sibTransId="{10AA7BDB-DB05-6345-83D5-BB856DA56148}"/>
    <dgm:cxn modelId="{65683AA4-792F-1749-B97D-ED3A86F7C54A}" type="presOf" srcId="{5FDB7CB1-CD6D-0E4D-850E-940A4C13EE87}" destId="{56B2C215-8D46-1E4D-A12B-8E03B7D46121}" srcOrd="0" destOrd="0" presId="urn:microsoft.com/office/officeart/2005/8/layout/vList5"/>
    <dgm:cxn modelId="{68FED0AB-3580-2846-8937-7E348E9F14AB}" type="presOf" srcId="{3C894B29-C04E-D842-BDB1-D4566A3BAC49}" destId="{66FFC680-CB95-FC49-8D2D-1846A64FA5C8}" srcOrd="0" destOrd="0" presId="urn:microsoft.com/office/officeart/2005/8/layout/vList5"/>
    <dgm:cxn modelId="{9F882AB3-6584-3F43-BF5C-CF013F259862}" srcId="{5FDB7CB1-CD6D-0E4D-850E-940A4C13EE87}" destId="{F4DC3C7A-B056-9146-87A5-AFE650EDBA8D}" srcOrd="5" destOrd="0" parTransId="{62A793A7-2F3A-B347-B135-05F7B5CC3F45}" sibTransId="{C2ECFD20-FC98-AF4B-8CDB-F88622415B52}"/>
    <dgm:cxn modelId="{0CE5A6BC-779D-9B49-BC0F-CFE1A9B53C4B}" srcId="{5FDB7CB1-CD6D-0E4D-850E-940A4C13EE87}" destId="{9698DF68-BD1B-6845-83CE-57968DFB76E4}" srcOrd="4" destOrd="0" parTransId="{A57F63A9-189E-B346-93AB-23C2107F1E6A}" sibTransId="{A3148EA9-4F2B-814C-9022-C361AF0E97F9}"/>
    <dgm:cxn modelId="{747E12C5-5947-2F47-80F9-51F9FA3DB9C2}" type="presOf" srcId="{F4DC3C7A-B056-9146-87A5-AFE650EDBA8D}" destId="{300EA6BB-264F-C147-A87B-0E442F24934B}" srcOrd="0" destOrd="0" presId="urn:microsoft.com/office/officeart/2005/8/layout/vList5"/>
    <dgm:cxn modelId="{0F6FE3DE-9606-AD4C-8D65-249776A2B3F5}" srcId="{5FDB7CB1-CD6D-0E4D-850E-940A4C13EE87}" destId="{C8D80A89-3A86-1E41-A9EF-6782FFF521A4}" srcOrd="2" destOrd="0" parTransId="{40C6EBB4-F59F-6447-B325-2AA65D1D89ED}" sibTransId="{6EE21AFC-D666-AF48-96AC-740A673C7CDE}"/>
    <dgm:cxn modelId="{6583A6E3-6ECE-0948-A210-226160B7BAC9}" type="presOf" srcId="{A6C2C3EB-5635-A84A-983B-C04D9C1CFEBC}" destId="{1431AC90-64E3-F14D-A40B-2D6F995F81B3}" srcOrd="0" destOrd="0" presId="urn:microsoft.com/office/officeart/2005/8/layout/vList5"/>
    <dgm:cxn modelId="{4A7DD6F0-C647-3547-BD09-805758D06C19}" srcId="{8A5585B1-2180-4E4D-AB45-8A88F0AA8D65}" destId="{A100326A-C752-1848-8C83-04DA0ECBA762}" srcOrd="0" destOrd="0" parTransId="{9FB38648-E054-3F4C-B508-74FA06A01FD4}" sibTransId="{803CFA31-8C7A-4449-A3E0-A6C48A3D00EF}"/>
    <dgm:cxn modelId="{16E6C1F4-892E-6A45-B23F-1AAE708CE5A5}" type="presOf" srcId="{9698DF68-BD1B-6845-83CE-57968DFB76E4}" destId="{69D9BAD7-14B5-C046-81C5-EA1D15EA3AA8}" srcOrd="0" destOrd="0" presId="urn:microsoft.com/office/officeart/2005/8/layout/vList5"/>
    <dgm:cxn modelId="{B59F8BF8-FBD5-2E47-BE03-ECA6427FCB78}" type="presOf" srcId="{62B8EDEB-9EB3-E24B-B670-F244B8F00E8B}" destId="{EDCEC9FF-4638-3E41-8FEA-74485687C8B3}" srcOrd="0" destOrd="0" presId="urn:microsoft.com/office/officeart/2005/8/layout/vList5"/>
    <dgm:cxn modelId="{1095A7FE-C8F9-D446-8D2C-9D545EB5F97E}" type="presOf" srcId="{9D748E47-3DFB-A446-ADD8-AEA326FD96A8}" destId="{921E4C4E-6C41-0345-8969-9106695913E0}" srcOrd="0" destOrd="0" presId="urn:microsoft.com/office/officeart/2005/8/layout/vList5"/>
    <dgm:cxn modelId="{65391E28-A9A6-AD4F-9640-7190DFC25E72}" type="presParOf" srcId="{56B2C215-8D46-1E4D-A12B-8E03B7D46121}" destId="{128B906F-55CC-5943-92AE-E9187C566D2F}" srcOrd="0" destOrd="0" presId="urn:microsoft.com/office/officeart/2005/8/layout/vList5"/>
    <dgm:cxn modelId="{B57696EB-4194-CD49-8C27-4C458AA6CA43}" type="presParOf" srcId="{128B906F-55CC-5943-92AE-E9187C566D2F}" destId="{5CD1EDB9-9D59-F348-BF8E-499C18BE82CF}" srcOrd="0" destOrd="0" presId="urn:microsoft.com/office/officeart/2005/8/layout/vList5"/>
    <dgm:cxn modelId="{029D9F31-5F56-4648-85D0-D1A12831758E}" type="presParOf" srcId="{128B906F-55CC-5943-92AE-E9187C566D2F}" destId="{EDCEC9FF-4638-3E41-8FEA-74485687C8B3}" srcOrd="1" destOrd="0" presId="urn:microsoft.com/office/officeart/2005/8/layout/vList5"/>
    <dgm:cxn modelId="{04415386-6007-824F-ABDD-F19297AF3F81}" type="presParOf" srcId="{56B2C215-8D46-1E4D-A12B-8E03B7D46121}" destId="{CEEB6782-54BA-C74F-9BE7-EF28F8B4B832}" srcOrd="1" destOrd="0" presId="urn:microsoft.com/office/officeart/2005/8/layout/vList5"/>
    <dgm:cxn modelId="{50C6FD65-4540-3D43-87EE-512AE7ED1C38}" type="presParOf" srcId="{56B2C215-8D46-1E4D-A12B-8E03B7D46121}" destId="{F01CD0C9-1D08-1743-A201-19D4C5F7A281}" srcOrd="2" destOrd="0" presId="urn:microsoft.com/office/officeart/2005/8/layout/vList5"/>
    <dgm:cxn modelId="{54F70016-A637-1F45-A5AC-3EBDF8F6A181}" type="presParOf" srcId="{F01CD0C9-1D08-1743-A201-19D4C5F7A281}" destId="{43AEC466-33F8-BF49-960C-7244AC77F425}" srcOrd="0" destOrd="0" presId="urn:microsoft.com/office/officeart/2005/8/layout/vList5"/>
    <dgm:cxn modelId="{8D88511D-3291-FC45-B5D3-17B85A2AFE15}" type="presParOf" srcId="{F01CD0C9-1D08-1743-A201-19D4C5F7A281}" destId="{9BB40BA9-3D0A-D74F-B03A-8222386DC2FE}" srcOrd="1" destOrd="0" presId="urn:microsoft.com/office/officeart/2005/8/layout/vList5"/>
    <dgm:cxn modelId="{3DF9A698-C6BF-D443-A958-FDCD4D75220C}" type="presParOf" srcId="{56B2C215-8D46-1E4D-A12B-8E03B7D46121}" destId="{E7A15F01-69CC-3A4A-A2B2-EEE389B78F46}" srcOrd="3" destOrd="0" presId="urn:microsoft.com/office/officeart/2005/8/layout/vList5"/>
    <dgm:cxn modelId="{C968E61F-629E-034A-A5DC-DE8C54540C80}" type="presParOf" srcId="{56B2C215-8D46-1E4D-A12B-8E03B7D46121}" destId="{CCEA931B-9600-3B49-957C-EA606F9887FE}" srcOrd="4" destOrd="0" presId="urn:microsoft.com/office/officeart/2005/8/layout/vList5"/>
    <dgm:cxn modelId="{21E4DCB7-FBD3-5E45-8726-A87766D3B7B4}" type="presParOf" srcId="{CCEA931B-9600-3B49-957C-EA606F9887FE}" destId="{947B7BEA-2B2D-D149-8DF7-760919732A4F}" srcOrd="0" destOrd="0" presId="urn:microsoft.com/office/officeart/2005/8/layout/vList5"/>
    <dgm:cxn modelId="{545FE84B-00A6-0F4C-B2FF-251FDCB068C7}" type="presParOf" srcId="{CCEA931B-9600-3B49-957C-EA606F9887FE}" destId="{1431AC90-64E3-F14D-A40B-2D6F995F81B3}" srcOrd="1" destOrd="0" presId="urn:microsoft.com/office/officeart/2005/8/layout/vList5"/>
    <dgm:cxn modelId="{02B604AE-D694-D44E-AC5B-8E25A86F193E}" type="presParOf" srcId="{56B2C215-8D46-1E4D-A12B-8E03B7D46121}" destId="{E8402811-017A-A347-ABC9-689E704F0CDE}" srcOrd="5" destOrd="0" presId="urn:microsoft.com/office/officeart/2005/8/layout/vList5"/>
    <dgm:cxn modelId="{18658576-5742-9946-B371-B939B5631679}" type="presParOf" srcId="{56B2C215-8D46-1E4D-A12B-8E03B7D46121}" destId="{441675B2-73E4-AE44-97EF-C7D0768B85AC}" srcOrd="6" destOrd="0" presId="urn:microsoft.com/office/officeart/2005/8/layout/vList5"/>
    <dgm:cxn modelId="{8E9A00E3-8162-7C46-8D93-3618898199A1}" type="presParOf" srcId="{441675B2-73E4-AE44-97EF-C7D0768B85AC}" destId="{DC2C19D6-460D-B84D-A5F1-661A10115421}" srcOrd="0" destOrd="0" presId="urn:microsoft.com/office/officeart/2005/8/layout/vList5"/>
    <dgm:cxn modelId="{8622684C-255E-4B43-80A7-2B0215FD1902}" type="presParOf" srcId="{441675B2-73E4-AE44-97EF-C7D0768B85AC}" destId="{921E4C4E-6C41-0345-8969-9106695913E0}" srcOrd="1" destOrd="0" presId="urn:microsoft.com/office/officeart/2005/8/layout/vList5"/>
    <dgm:cxn modelId="{18118323-A1CC-F046-A313-974963839E2A}" type="presParOf" srcId="{56B2C215-8D46-1E4D-A12B-8E03B7D46121}" destId="{BB19B829-2645-9A4F-B29E-553F080C048B}" srcOrd="7" destOrd="0" presId="urn:microsoft.com/office/officeart/2005/8/layout/vList5"/>
    <dgm:cxn modelId="{C7B21F8B-3E9B-134A-8B3C-60218F5FB6DB}" type="presParOf" srcId="{56B2C215-8D46-1E4D-A12B-8E03B7D46121}" destId="{D0FFAAF6-E3CD-3840-A5E7-382D309D4389}" srcOrd="8" destOrd="0" presId="urn:microsoft.com/office/officeart/2005/8/layout/vList5"/>
    <dgm:cxn modelId="{11435E78-85FC-4640-A01B-9D89147E6876}" type="presParOf" srcId="{D0FFAAF6-E3CD-3840-A5E7-382D309D4389}" destId="{69D9BAD7-14B5-C046-81C5-EA1D15EA3AA8}" srcOrd="0" destOrd="0" presId="urn:microsoft.com/office/officeart/2005/8/layout/vList5"/>
    <dgm:cxn modelId="{02E09D7C-9605-F94E-A822-EBB53B699DDC}" type="presParOf" srcId="{D0FFAAF6-E3CD-3840-A5E7-382D309D4389}" destId="{0159831E-10B0-0849-9FE1-3C62584DCAAA}" srcOrd="1" destOrd="0" presId="urn:microsoft.com/office/officeart/2005/8/layout/vList5"/>
    <dgm:cxn modelId="{BCD91A29-B7F8-0D42-AA16-B997F6F40D7A}" type="presParOf" srcId="{56B2C215-8D46-1E4D-A12B-8E03B7D46121}" destId="{8E995FA1-9B9B-FC4E-979D-5D1210912E33}" srcOrd="9" destOrd="0" presId="urn:microsoft.com/office/officeart/2005/8/layout/vList5"/>
    <dgm:cxn modelId="{30B90A1E-EE30-5442-A1C7-2539FA6894F2}" type="presParOf" srcId="{56B2C215-8D46-1E4D-A12B-8E03B7D46121}" destId="{4A1833CC-1BDD-3748-AED0-D9D1E9261E87}" srcOrd="10" destOrd="0" presId="urn:microsoft.com/office/officeart/2005/8/layout/vList5"/>
    <dgm:cxn modelId="{65796457-83EC-1B4D-9FB2-6024850F5F57}" type="presParOf" srcId="{4A1833CC-1BDD-3748-AED0-D9D1E9261E87}" destId="{300EA6BB-264F-C147-A87B-0E442F24934B}" srcOrd="0" destOrd="0" presId="urn:microsoft.com/office/officeart/2005/8/layout/vList5"/>
    <dgm:cxn modelId="{E4FB47AF-2C5D-0C4D-9008-FA210AF84C81}" type="presParOf" srcId="{4A1833CC-1BDD-3748-AED0-D9D1E9261E87}" destId="{F67D2AD7-A9BA-1F4E-B7E7-47386DBC8380}" srcOrd="1" destOrd="0" presId="urn:microsoft.com/office/officeart/2005/8/layout/vList5"/>
    <dgm:cxn modelId="{1D3E397B-BE87-8541-89FD-46FA43201562}" type="presParOf" srcId="{56B2C215-8D46-1E4D-A12B-8E03B7D46121}" destId="{88E58D21-2E11-774F-867A-EB85F961132F}" srcOrd="11" destOrd="0" presId="urn:microsoft.com/office/officeart/2005/8/layout/vList5"/>
    <dgm:cxn modelId="{E848BB6C-3F30-2A45-A57B-F1E8E73B8875}" type="presParOf" srcId="{56B2C215-8D46-1E4D-A12B-8E03B7D46121}" destId="{9C4E2B32-9B56-C643-8FA7-7AE7195F68BB}" srcOrd="12" destOrd="0" presId="urn:microsoft.com/office/officeart/2005/8/layout/vList5"/>
    <dgm:cxn modelId="{ED8F6734-416D-944E-AA7A-0480B9D7BAB6}" type="presParOf" srcId="{9C4E2B32-9B56-C643-8FA7-7AE7195F68BB}" destId="{CE67FFA1-7782-A647-874B-002FD8362C4B}" srcOrd="0" destOrd="0" presId="urn:microsoft.com/office/officeart/2005/8/layout/vList5"/>
    <dgm:cxn modelId="{60732E51-5968-4948-8E53-26038A145CB0}" type="presParOf" srcId="{9C4E2B32-9B56-C643-8FA7-7AE7195F68BB}" destId="{66FFC680-CB95-FC49-8D2D-1846A64FA5C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41396C-2F25-5F47-AE22-4DB641B9B01C}" type="doc">
      <dgm:prSet loTypeId="urn:microsoft.com/office/officeart/2008/layout/BendingPictureCaption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D6CC902-72DB-6F4C-A7A7-922164316BB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600" b="1" dirty="0">
              <a:solidFill>
                <a:schemeClr val="accent3">
                  <a:lumMod val="75000"/>
                </a:schemeClr>
              </a:solidFill>
            </a:rPr>
            <a:t>Static documents</a:t>
          </a:r>
        </a:p>
      </dgm:t>
    </dgm:pt>
    <dgm:pt modelId="{566FC93E-5AFF-5F47-BAD9-3B2283E490DA}" type="parTrans" cxnId="{681FE6F0-01CB-9842-AFCD-7AEE9193363B}">
      <dgm:prSet/>
      <dgm:spPr/>
      <dgm:t>
        <a:bodyPr/>
        <a:lstStyle/>
        <a:p>
          <a:endParaRPr lang="en-US"/>
        </a:p>
      </dgm:t>
    </dgm:pt>
    <dgm:pt modelId="{144DACF0-1EA2-4C44-890E-2EEB6586E822}" type="sibTrans" cxnId="{681FE6F0-01CB-9842-AFCD-7AEE9193363B}">
      <dgm:prSet/>
      <dgm:spPr/>
      <dgm:t>
        <a:bodyPr/>
        <a:lstStyle/>
        <a:p>
          <a:endParaRPr lang="en-US"/>
        </a:p>
      </dgm:t>
    </dgm:pt>
    <dgm:pt modelId="{9B6F8943-9ECD-DB41-91F8-D3A049BDCF37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600" b="1" dirty="0">
              <a:solidFill>
                <a:schemeClr val="accent3">
                  <a:lumMod val="75000"/>
                </a:schemeClr>
              </a:solidFill>
            </a:rPr>
            <a:t>Self-paced courses</a:t>
          </a:r>
        </a:p>
      </dgm:t>
    </dgm:pt>
    <dgm:pt modelId="{D71DC4A4-CA44-3C4E-83E1-E110FCCF29E9}" type="parTrans" cxnId="{66A9518C-8EEF-4E40-B958-3A5B96107471}">
      <dgm:prSet/>
      <dgm:spPr/>
      <dgm:t>
        <a:bodyPr/>
        <a:lstStyle/>
        <a:p>
          <a:endParaRPr lang="en-US"/>
        </a:p>
      </dgm:t>
    </dgm:pt>
    <dgm:pt modelId="{EBDACFC4-5962-AC43-ADED-65C2EE48159D}" type="sibTrans" cxnId="{66A9518C-8EEF-4E40-B958-3A5B96107471}">
      <dgm:prSet/>
      <dgm:spPr/>
      <dgm:t>
        <a:bodyPr/>
        <a:lstStyle/>
        <a:p>
          <a:endParaRPr lang="en-US"/>
        </a:p>
      </dgm:t>
    </dgm:pt>
    <dgm:pt modelId="{E9C9158A-E578-CC4C-8F60-0924BA75EE64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600" b="1" dirty="0">
              <a:solidFill>
                <a:schemeClr val="accent3">
                  <a:lumMod val="75000"/>
                </a:schemeClr>
              </a:solidFill>
            </a:rPr>
            <a:t>Trainings and webinars</a:t>
          </a:r>
        </a:p>
      </dgm:t>
    </dgm:pt>
    <dgm:pt modelId="{40C795C7-D7B8-694A-9754-554AE8160C15}" type="parTrans" cxnId="{CC519E21-DF19-8F46-AB03-A08DE339D563}">
      <dgm:prSet/>
      <dgm:spPr/>
      <dgm:t>
        <a:bodyPr/>
        <a:lstStyle/>
        <a:p>
          <a:endParaRPr lang="en-US"/>
        </a:p>
      </dgm:t>
    </dgm:pt>
    <dgm:pt modelId="{4915B1D6-CECA-FD43-8382-33E8E474A582}" type="sibTrans" cxnId="{CC519E21-DF19-8F46-AB03-A08DE339D563}">
      <dgm:prSet/>
      <dgm:spPr/>
      <dgm:t>
        <a:bodyPr/>
        <a:lstStyle/>
        <a:p>
          <a:endParaRPr lang="en-US"/>
        </a:p>
      </dgm:t>
    </dgm:pt>
    <dgm:pt modelId="{7AE4BCA5-D436-594D-A404-B9930CD1CFBD}" type="pres">
      <dgm:prSet presAssocID="{FD41396C-2F25-5F47-AE22-4DB641B9B01C}" presName="diagram" presStyleCnt="0">
        <dgm:presLayoutVars>
          <dgm:dir/>
        </dgm:presLayoutVars>
      </dgm:prSet>
      <dgm:spPr/>
    </dgm:pt>
    <dgm:pt modelId="{AAB9159B-BDA6-EF43-BC50-72BA7864640D}" type="pres">
      <dgm:prSet presAssocID="{AD6CC902-72DB-6F4C-A7A7-922164316BB5}" presName="composite" presStyleCnt="0"/>
      <dgm:spPr/>
    </dgm:pt>
    <dgm:pt modelId="{7B232DB5-7B6F-6C4F-A27A-E455892E4A6F}" type="pres">
      <dgm:prSet presAssocID="{AD6CC902-72DB-6F4C-A7A7-922164316BB5}" presName="Image" presStyleLbl="bgShp" presStyleIdx="0" presStyleCnt="3"/>
      <dgm:spPr>
        <a:blipFill>
          <a:blip xmlns:r="http://schemas.openxmlformats.org/officeDocument/2006/relationships" r:embed="rId1"/>
          <a:srcRect/>
          <a:stretch>
            <a:fillRect l="-17000" r="-17000"/>
          </a:stretch>
        </a:blipFill>
      </dgm:spPr>
      <dgm:extLst>
        <a:ext uri="{E40237B7-FDA0-4F09-8148-C483321AD2D9}">
          <dgm14:cNvPr xmlns:dgm14="http://schemas.microsoft.com/office/drawing/2010/diagram" id="0" name="" descr="Stack of papers with paper clips."/>
        </a:ext>
      </dgm:extLst>
    </dgm:pt>
    <dgm:pt modelId="{77CBF5FD-AE6B-2849-AB45-81BE97386BC6}" type="pres">
      <dgm:prSet presAssocID="{AD6CC902-72DB-6F4C-A7A7-922164316BB5}" presName="Parent" presStyleLbl="node0" presStyleIdx="0" presStyleCnt="3" custScaleX="117250">
        <dgm:presLayoutVars>
          <dgm:bulletEnabled val="1"/>
        </dgm:presLayoutVars>
      </dgm:prSet>
      <dgm:spPr/>
    </dgm:pt>
    <dgm:pt modelId="{CF7B1453-4367-AE4A-8B4F-F54B33FAB130}" type="pres">
      <dgm:prSet presAssocID="{144DACF0-1EA2-4C44-890E-2EEB6586E822}" presName="sibTrans" presStyleCnt="0"/>
      <dgm:spPr/>
    </dgm:pt>
    <dgm:pt modelId="{BC3FD0E3-F423-B044-8336-FB0FD27AEC46}" type="pres">
      <dgm:prSet presAssocID="{9B6F8943-9ECD-DB41-91F8-D3A049BDCF37}" presName="composite" presStyleCnt="0"/>
      <dgm:spPr/>
    </dgm:pt>
    <dgm:pt modelId="{E9767C51-22DE-4E45-B031-3D375A061EB9}" type="pres">
      <dgm:prSet presAssocID="{9B6F8943-9ECD-DB41-91F8-D3A049BDCF37}" presName="Image" presStyleLbl="bgShp" presStyleIdx="1" presStyleCnt="3"/>
      <dgm:spPr>
        <a:blipFill>
          <a:blip xmlns:r="http://schemas.openxmlformats.org/officeDocument/2006/relationships" r:embed="rId2"/>
          <a:srcRect/>
          <a:stretch>
            <a:fillRect l="-14000" r="-14000"/>
          </a:stretch>
        </a:blipFill>
      </dgm:spPr>
      <dgm:extLst>
        <a:ext uri="{E40237B7-FDA0-4F09-8148-C483321AD2D9}">
          <dgm14:cNvPr xmlns:dgm14="http://schemas.microsoft.com/office/drawing/2010/diagram" id="0" name="" descr="People working on computers."/>
        </a:ext>
      </dgm:extLst>
    </dgm:pt>
    <dgm:pt modelId="{304F7316-6A54-FB46-A9A1-A73029A87BA5}" type="pres">
      <dgm:prSet presAssocID="{9B6F8943-9ECD-DB41-91F8-D3A049BDCF37}" presName="Parent" presStyleLbl="node0" presStyleIdx="1" presStyleCnt="3" custScaleX="117250">
        <dgm:presLayoutVars>
          <dgm:bulletEnabled val="1"/>
        </dgm:presLayoutVars>
      </dgm:prSet>
      <dgm:spPr/>
    </dgm:pt>
    <dgm:pt modelId="{CFF1455C-441E-F349-AFA2-76831D824F6C}" type="pres">
      <dgm:prSet presAssocID="{EBDACFC4-5962-AC43-ADED-65C2EE48159D}" presName="sibTrans" presStyleCnt="0"/>
      <dgm:spPr/>
    </dgm:pt>
    <dgm:pt modelId="{5B5D9ABF-64F0-C947-B362-B8B56B4F3407}" type="pres">
      <dgm:prSet presAssocID="{E9C9158A-E578-CC4C-8F60-0924BA75EE64}" presName="composite" presStyleCnt="0"/>
      <dgm:spPr/>
    </dgm:pt>
    <dgm:pt modelId="{7BF75E8D-2F23-AF47-950D-117A746CDBBB}" type="pres">
      <dgm:prSet presAssocID="{E9C9158A-E578-CC4C-8F60-0924BA75EE64}" presName="Image" presStyleLbl="bgShp" presStyleIdx="2" presStyleCnt="3"/>
      <dgm:spPr>
        <a:blipFill>
          <a:blip xmlns:r="http://schemas.openxmlformats.org/officeDocument/2006/relationships" r:embed="rId3"/>
          <a:srcRect/>
          <a:stretch>
            <a:fillRect l="-14000" r="-14000"/>
          </a:stretch>
        </a:blipFill>
      </dgm:spPr>
      <dgm:extLst>
        <a:ext uri="{E40237B7-FDA0-4F09-8148-C483321AD2D9}">
          <dgm14:cNvPr xmlns:dgm14="http://schemas.microsoft.com/office/drawing/2010/diagram" id="0" name="" descr="Employees raising hands during a lecture."/>
        </a:ext>
      </dgm:extLst>
    </dgm:pt>
    <dgm:pt modelId="{BEC37A7D-2761-9247-9602-53E2FCF94573}" type="pres">
      <dgm:prSet presAssocID="{E9C9158A-E578-CC4C-8F60-0924BA75EE64}" presName="Parent" presStyleLbl="node0" presStyleIdx="2" presStyleCnt="3" custScaleX="117250">
        <dgm:presLayoutVars>
          <dgm:bulletEnabled val="1"/>
        </dgm:presLayoutVars>
      </dgm:prSet>
      <dgm:spPr/>
    </dgm:pt>
  </dgm:ptLst>
  <dgm:cxnLst>
    <dgm:cxn modelId="{4EB2F520-8EE0-8442-8CC3-F2A850CB417C}" type="presOf" srcId="{AD6CC902-72DB-6F4C-A7A7-922164316BB5}" destId="{77CBF5FD-AE6B-2849-AB45-81BE97386BC6}" srcOrd="0" destOrd="0" presId="urn:microsoft.com/office/officeart/2008/layout/BendingPictureCaption"/>
    <dgm:cxn modelId="{CC519E21-DF19-8F46-AB03-A08DE339D563}" srcId="{FD41396C-2F25-5F47-AE22-4DB641B9B01C}" destId="{E9C9158A-E578-CC4C-8F60-0924BA75EE64}" srcOrd="2" destOrd="0" parTransId="{40C795C7-D7B8-694A-9754-554AE8160C15}" sibTransId="{4915B1D6-CECA-FD43-8382-33E8E474A582}"/>
    <dgm:cxn modelId="{2C39D068-7C11-134B-BF45-AF7B77FDBE44}" type="presOf" srcId="{9B6F8943-9ECD-DB41-91F8-D3A049BDCF37}" destId="{304F7316-6A54-FB46-A9A1-A73029A87BA5}" srcOrd="0" destOrd="0" presId="urn:microsoft.com/office/officeart/2008/layout/BendingPictureCaption"/>
    <dgm:cxn modelId="{25CC4182-337E-7345-9F42-F7AFC856733C}" type="presOf" srcId="{FD41396C-2F25-5F47-AE22-4DB641B9B01C}" destId="{7AE4BCA5-D436-594D-A404-B9930CD1CFBD}" srcOrd="0" destOrd="0" presId="urn:microsoft.com/office/officeart/2008/layout/BendingPictureCaption"/>
    <dgm:cxn modelId="{66A9518C-8EEF-4E40-B958-3A5B96107471}" srcId="{FD41396C-2F25-5F47-AE22-4DB641B9B01C}" destId="{9B6F8943-9ECD-DB41-91F8-D3A049BDCF37}" srcOrd="1" destOrd="0" parTransId="{D71DC4A4-CA44-3C4E-83E1-E110FCCF29E9}" sibTransId="{EBDACFC4-5962-AC43-ADED-65C2EE48159D}"/>
    <dgm:cxn modelId="{F64F7BD5-209F-C543-981F-0D740FEB093A}" type="presOf" srcId="{E9C9158A-E578-CC4C-8F60-0924BA75EE64}" destId="{BEC37A7D-2761-9247-9602-53E2FCF94573}" srcOrd="0" destOrd="0" presId="urn:microsoft.com/office/officeart/2008/layout/BendingPictureCaption"/>
    <dgm:cxn modelId="{681FE6F0-01CB-9842-AFCD-7AEE9193363B}" srcId="{FD41396C-2F25-5F47-AE22-4DB641B9B01C}" destId="{AD6CC902-72DB-6F4C-A7A7-922164316BB5}" srcOrd="0" destOrd="0" parTransId="{566FC93E-5AFF-5F47-BAD9-3B2283E490DA}" sibTransId="{144DACF0-1EA2-4C44-890E-2EEB6586E822}"/>
    <dgm:cxn modelId="{2CD18376-D08B-8345-B255-06BE248B763B}" type="presParOf" srcId="{7AE4BCA5-D436-594D-A404-B9930CD1CFBD}" destId="{AAB9159B-BDA6-EF43-BC50-72BA7864640D}" srcOrd="0" destOrd="0" presId="urn:microsoft.com/office/officeart/2008/layout/BendingPictureCaption"/>
    <dgm:cxn modelId="{88A41B44-5F36-9744-9C23-AF2A938D3967}" type="presParOf" srcId="{AAB9159B-BDA6-EF43-BC50-72BA7864640D}" destId="{7B232DB5-7B6F-6C4F-A27A-E455892E4A6F}" srcOrd="0" destOrd="0" presId="urn:microsoft.com/office/officeart/2008/layout/BendingPictureCaption"/>
    <dgm:cxn modelId="{F76DB58F-FC9F-C741-837C-2160B6DB06FE}" type="presParOf" srcId="{AAB9159B-BDA6-EF43-BC50-72BA7864640D}" destId="{77CBF5FD-AE6B-2849-AB45-81BE97386BC6}" srcOrd="1" destOrd="0" presId="urn:microsoft.com/office/officeart/2008/layout/BendingPictureCaption"/>
    <dgm:cxn modelId="{9044E30E-5876-EE47-B522-B21A495217AC}" type="presParOf" srcId="{7AE4BCA5-D436-594D-A404-B9930CD1CFBD}" destId="{CF7B1453-4367-AE4A-8B4F-F54B33FAB130}" srcOrd="1" destOrd="0" presId="urn:microsoft.com/office/officeart/2008/layout/BendingPictureCaption"/>
    <dgm:cxn modelId="{C63EAFEA-AAE5-A149-8DF2-C55417831DD4}" type="presParOf" srcId="{7AE4BCA5-D436-594D-A404-B9930CD1CFBD}" destId="{BC3FD0E3-F423-B044-8336-FB0FD27AEC46}" srcOrd="2" destOrd="0" presId="urn:microsoft.com/office/officeart/2008/layout/BendingPictureCaption"/>
    <dgm:cxn modelId="{0306F813-3349-094F-B931-5FED23BD2568}" type="presParOf" srcId="{BC3FD0E3-F423-B044-8336-FB0FD27AEC46}" destId="{E9767C51-22DE-4E45-B031-3D375A061EB9}" srcOrd="0" destOrd="0" presId="urn:microsoft.com/office/officeart/2008/layout/BendingPictureCaption"/>
    <dgm:cxn modelId="{E959F546-46BE-7F40-ABC3-865982B28132}" type="presParOf" srcId="{BC3FD0E3-F423-B044-8336-FB0FD27AEC46}" destId="{304F7316-6A54-FB46-A9A1-A73029A87BA5}" srcOrd="1" destOrd="0" presId="urn:microsoft.com/office/officeart/2008/layout/BendingPictureCaption"/>
    <dgm:cxn modelId="{A45F7F6A-7709-F745-BE5D-BF325518ACD0}" type="presParOf" srcId="{7AE4BCA5-D436-594D-A404-B9930CD1CFBD}" destId="{CFF1455C-441E-F349-AFA2-76831D824F6C}" srcOrd="3" destOrd="0" presId="urn:microsoft.com/office/officeart/2008/layout/BendingPictureCaption"/>
    <dgm:cxn modelId="{78A66954-CEB8-BA45-B167-0D0444D426E4}" type="presParOf" srcId="{7AE4BCA5-D436-594D-A404-B9930CD1CFBD}" destId="{5B5D9ABF-64F0-C947-B362-B8B56B4F3407}" srcOrd="4" destOrd="0" presId="urn:microsoft.com/office/officeart/2008/layout/BendingPictureCaption"/>
    <dgm:cxn modelId="{992BAA87-893D-D84B-8FED-3DB5F8E1AA5E}" type="presParOf" srcId="{5B5D9ABF-64F0-C947-B362-B8B56B4F3407}" destId="{7BF75E8D-2F23-AF47-950D-117A746CDBBB}" srcOrd="0" destOrd="0" presId="urn:microsoft.com/office/officeart/2008/layout/BendingPictureCaption"/>
    <dgm:cxn modelId="{99F23483-F77B-ED43-8428-217006A143CC}" type="presParOf" srcId="{5B5D9ABF-64F0-C947-B362-B8B56B4F3407}" destId="{BEC37A7D-2761-9247-9602-53E2FCF94573}" srcOrd="1" destOrd="0" presId="urn:microsoft.com/office/officeart/2008/layout/BendingPictureCapti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22C173B-42C5-B746-982A-B34DAE4DFF0B}" type="doc">
      <dgm:prSet loTypeId="urn:microsoft.com/office/officeart/2009/layout/CircleArrowProcess" loCatId="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1BC74A2C-3628-6A42-B4B5-6199145FFB57}">
      <dgm:prSet phldrT="[Text]"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Reviewed options</a:t>
          </a:r>
        </a:p>
      </dgm:t>
    </dgm:pt>
    <dgm:pt modelId="{1D6220F8-D669-B147-8932-67CCF32C36FC}" type="parTrans" cxnId="{5E5FC0ED-4910-4646-9033-72AE91BCE08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2C80056-2249-8143-8CAF-3CD4AFAA1CDE}" type="sibTrans" cxnId="{5E5FC0ED-4910-4646-9033-72AE91BCE08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7D3DE18-26BC-3045-87BA-44EF318A554D}">
      <dgm:prSet phldrT="[Text]"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Calculated risk vs. reward</a:t>
          </a:r>
        </a:p>
      </dgm:t>
    </dgm:pt>
    <dgm:pt modelId="{ED27C0B8-F620-B043-A313-CDA2AD4C68FD}" type="parTrans" cxnId="{9461329D-6AE8-6747-99C2-6B954D633A4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847FBE3-8F22-8942-95BD-AAE850C9A9B9}" type="sibTrans" cxnId="{9461329D-6AE8-6747-99C2-6B954D633A4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3CEB863-E312-6341-A2DE-F0EEE020C8F9}">
      <dgm:prSet phldrT="[Text]"/>
      <dgm:spPr/>
      <dgm:t>
        <a:bodyPr/>
        <a:lstStyle/>
        <a:p>
          <a:r>
            <a:rPr lang="en-US" dirty="0">
              <a:solidFill>
                <a:schemeClr val="bg1"/>
              </a:solidFill>
            </a:rPr>
            <a:t>Shopped around proposal</a:t>
          </a:r>
        </a:p>
      </dgm:t>
    </dgm:pt>
    <dgm:pt modelId="{082CFFB1-7FB8-3E44-84DC-0A51902F2A9C}" type="parTrans" cxnId="{B89B34A8-2B34-C846-A797-D00BA50AE67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5BE9A94-4930-3040-B0FE-4945723E319A}" type="sibTrans" cxnId="{B89B34A8-2B34-C846-A797-D00BA50AE67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9F6E4D3-F779-D441-94F3-C0EC7F6C1A95}" type="pres">
      <dgm:prSet presAssocID="{322C173B-42C5-B746-982A-B34DAE4DFF0B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3234E1BD-011F-AD45-BD91-FB84D7C6CAF1}" type="pres">
      <dgm:prSet presAssocID="{1BC74A2C-3628-6A42-B4B5-6199145FFB57}" presName="Accent1" presStyleCnt="0"/>
      <dgm:spPr/>
    </dgm:pt>
    <dgm:pt modelId="{7E94EA18-DE19-5246-9BCA-BE231EA6BA71}" type="pres">
      <dgm:prSet presAssocID="{1BC74A2C-3628-6A42-B4B5-6199145FFB57}" presName="Accent" presStyleLbl="node1" presStyleIdx="0" presStyleCnt="3"/>
      <dgm:spPr/>
    </dgm:pt>
    <dgm:pt modelId="{A3DA40BE-0FED-9643-BD2E-40138CB31D56}" type="pres">
      <dgm:prSet presAssocID="{1BC74A2C-3628-6A42-B4B5-6199145FFB57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F3A7E7A5-9771-AE48-9DFA-2872F5273F17}" type="pres">
      <dgm:prSet presAssocID="{07D3DE18-26BC-3045-87BA-44EF318A554D}" presName="Accent2" presStyleCnt="0"/>
      <dgm:spPr/>
    </dgm:pt>
    <dgm:pt modelId="{07748F37-23DB-1B49-AA8A-7CDFBB074AF3}" type="pres">
      <dgm:prSet presAssocID="{07D3DE18-26BC-3045-87BA-44EF318A554D}" presName="Accent" presStyleLbl="node1" presStyleIdx="1" presStyleCnt="3"/>
      <dgm:spPr/>
    </dgm:pt>
    <dgm:pt modelId="{DA508ECD-D327-674F-B231-D9C30B5C8A27}" type="pres">
      <dgm:prSet presAssocID="{07D3DE18-26BC-3045-87BA-44EF318A554D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28212FD4-8B18-D042-9F4F-82B9322362A8}" type="pres">
      <dgm:prSet presAssocID="{E3CEB863-E312-6341-A2DE-F0EEE020C8F9}" presName="Accent3" presStyleCnt="0"/>
      <dgm:spPr/>
    </dgm:pt>
    <dgm:pt modelId="{6BFEA6A2-A900-E34E-97C5-C6C9C1FCF1CE}" type="pres">
      <dgm:prSet presAssocID="{E3CEB863-E312-6341-A2DE-F0EEE020C8F9}" presName="Accent" presStyleLbl="node1" presStyleIdx="2" presStyleCnt="3"/>
      <dgm:spPr/>
    </dgm:pt>
    <dgm:pt modelId="{71CB926A-D467-8C47-80E1-1C4D4D798693}" type="pres">
      <dgm:prSet presAssocID="{E3CEB863-E312-6341-A2DE-F0EEE020C8F9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519FD701-D1FB-4D49-BC14-406D719FE646}" type="presOf" srcId="{E3CEB863-E312-6341-A2DE-F0EEE020C8F9}" destId="{71CB926A-D467-8C47-80E1-1C4D4D798693}" srcOrd="0" destOrd="0" presId="urn:microsoft.com/office/officeart/2009/layout/CircleArrowProcess"/>
    <dgm:cxn modelId="{7C046907-C439-3745-A022-BF6046C387A2}" type="presOf" srcId="{07D3DE18-26BC-3045-87BA-44EF318A554D}" destId="{DA508ECD-D327-674F-B231-D9C30B5C8A27}" srcOrd="0" destOrd="0" presId="urn:microsoft.com/office/officeart/2009/layout/CircleArrowProcess"/>
    <dgm:cxn modelId="{57B91022-3D39-3149-B6AC-11784D695E41}" type="presOf" srcId="{1BC74A2C-3628-6A42-B4B5-6199145FFB57}" destId="{A3DA40BE-0FED-9643-BD2E-40138CB31D56}" srcOrd="0" destOrd="0" presId="urn:microsoft.com/office/officeart/2009/layout/CircleArrowProcess"/>
    <dgm:cxn modelId="{5FB9742D-2D2D-CF4E-B814-3C3B948CBB67}" type="presOf" srcId="{322C173B-42C5-B746-982A-B34DAE4DFF0B}" destId="{F9F6E4D3-F779-D441-94F3-C0EC7F6C1A95}" srcOrd="0" destOrd="0" presId="urn:microsoft.com/office/officeart/2009/layout/CircleArrowProcess"/>
    <dgm:cxn modelId="{9461329D-6AE8-6747-99C2-6B954D633A44}" srcId="{322C173B-42C5-B746-982A-B34DAE4DFF0B}" destId="{07D3DE18-26BC-3045-87BA-44EF318A554D}" srcOrd="1" destOrd="0" parTransId="{ED27C0B8-F620-B043-A313-CDA2AD4C68FD}" sibTransId="{F847FBE3-8F22-8942-95BD-AAE850C9A9B9}"/>
    <dgm:cxn modelId="{B89B34A8-2B34-C846-A797-D00BA50AE678}" srcId="{322C173B-42C5-B746-982A-B34DAE4DFF0B}" destId="{E3CEB863-E312-6341-A2DE-F0EEE020C8F9}" srcOrd="2" destOrd="0" parTransId="{082CFFB1-7FB8-3E44-84DC-0A51902F2A9C}" sibTransId="{95BE9A94-4930-3040-B0FE-4945723E319A}"/>
    <dgm:cxn modelId="{5E5FC0ED-4910-4646-9033-72AE91BCE082}" srcId="{322C173B-42C5-B746-982A-B34DAE4DFF0B}" destId="{1BC74A2C-3628-6A42-B4B5-6199145FFB57}" srcOrd="0" destOrd="0" parTransId="{1D6220F8-D669-B147-8932-67CCF32C36FC}" sibTransId="{C2C80056-2249-8143-8CAF-3CD4AFAA1CDE}"/>
    <dgm:cxn modelId="{30919165-D40C-8843-A22F-8CE4BD176BDF}" type="presParOf" srcId="{F9F6E4D3-F779-D441-94F3-C0EC7F6C1A95}" destId="{3234E1BD-011F-AD45-BD91-FB84D7C6CAF1}" srcOrd="0" destOrd="0" presId="urn:microsoft.com/office/officeart/2009/layout/CircleArrowProcess"/>
    <dgm:cxn modelId="{FB2ACFC7-9D67-A54A-886A-1D8AD7D6E7FA}" type="presParOf" srcId="{3234E1BD-011F-AD45-BD91-FB84D7C6CAF1}" destId="{7E94EA18-DE19-5246-9BCA-BE231EA6BA71}" srcOrd="0" destOrd="0" presId="urn:microsoft.com/office/officeart/2009/layout/CircleArrowProcess"/>
    <dgm:cxn modelId="{17AEB267-160F-284F-8AFE-86F7D71809F3}" type="presParOf" srcId="{F9F6E4D3-F779-D441-94F3-C0EC7F6C1A95}" destId="{A3DA40BE-0FED-9643-BD2E-40138CB31D56}" srcOrd="1" destOrd="0" presId="urn:microsoft.com/office/officeart/2009/layout/CircleArrowProcess"/>
    <dgm:cxn modelId="{5CEA5D28-0A1E-0446-BF86-510727FC67B0}" type="presParOf" srcId="{F9F6E4D3-F779-D441-94F3-C0EC7F6C1A95}" destId="{F3A7E7A5-9771-AE48-9DFA-2872F5273F17}" srcOrd="2" destOrd="0" presId="urn:microsoft.com/office/officeart/2009/layout/CircleArrowProcess"/>
    <dgm:cxn modelId="{B2A50BBB-91FF-F949-A643-BB56090AD9AE}" type="presParOf" srcId="{F3A7E7A5-9771-AE48-9DFA-2872F5273F17}" destId="{07748F37-23DB-1B49-AA8A-7CDFBB074AF3}" srcOrd="0" destOrd="0" presId="urn:microsoft.com/office/officeart/2009/layout/CircleArrowProcess"/>
    <dgm:cxn modelId="{EDA961AF-B5A3-D74F-90C5-AD16EF88F24A}" type="presParOf" srcId="{F9F6E4D3-F779-D441-94F3-C0EC7F6C1A95}" destId="{DA508ECD-D327-674F-B231-D9C30B5C8A27}" srcOrd="3" destOrd="0" presId="urn:microsoft.com/office/officeart/2009/layout/CircleArrowProcess"/>
    <dgm:cxn modelId="{4FA9B2A2-2F5F-9047-9BDA-6179E474F93F}" type="presParOf" srcId="{F9F6E4D3-F779-D441-94F3-C0EC7F6C1A95}" destId="{28212FD4-8B18-D042-9F4F-82B9322362A8}" srcOrd="4" destOrd="0" presId="urn:microsoft.com/office/officeart/2009/layout/CircleArrowProcess"/>
    <dgm:cxn modelId="{AD7D5EF6-EEF6-594B-A4CF-B96D4375E3E2}" type="presParOf" srcId="{28212FD4-8B18-D042-9F4F-82B9322362A8}" destId="{6BFEA6A2-A900-E34E-97C5-C6C9C1FCF1CE}" srcOrd="0" destOrd="0" presId="urn:microsoft.com/office/officeart/2009/layout/CircleArrowProcess"/>
    <dgm:cxn modelId="{3276CF5A-6DDC-AF4F-ABF2-768D76867BEF}" type="presParOf" srcId="{F9F6E4D3-F779-D441-94F3-C0EC7F6C1A95}" destId="{71CB926A-D467-8C47-80E1-1C4D4D798693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7C91B2F-5803-2046-8ECD-EFEC2EBAB047}" type="doc">
      <dgm:prSet loTypeId="urn:microsoft.com/office/officeart/2005/8/layout/hList7" loCatId="" qsTypeId="urn:microsoft.com/office/officeart/2005/8/quickstyle/simple1" qsCatId="simple" csTypeId="urn:microsoft.com/office/officeart/2005/8/colors/accent1_2" csCatId="accent1" phldr="1"/>
      <dgm:spPr/>
    </dgm:pt>
    <dgm:pt modelId="{327FA558-78B9-9944-BA20-E4B6C3FA9CD3}">
      <dgm:prSet phldrT="[Text]"/>
      <dgm:spPr>
        <a:solidFill>
          <a:srgbClr val="2970BA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Who</a:t>
          </a:r>
        </a:p>
      </dgm:t>
    </dgm:pt>
    <dgm:pt modelId="{BCEF7638-A6EC-7644-855B-C3BA3236A2CB}" type="parTrans" cxnId="{6A3EEE8A-8D80-2245-8AE4-4DC5D6B70197}">
      <dgm:prSet/>
      <dgm:spPr/>
      <dgm:t>
        <a:bodyPr/>
        <a:lstStyle/>
        <a:p>
          <a:endParaRPr lang="en-US"/>
        </a:p>
      </dgm:t>
    </dgm:pt>
    <dgm:pt modelId="{38580C5B-F9DD-E44B-9733-CDB4E6D06524}" type="sibTrans" cxnId="{6A3EEE8A-8D80-2245-8AE4-4DC5D6B70197}">
      <dgm:prSet/>
      <dgm:spPr/>
      <dgm:t>
        <a:bodyPr/>
        <a:lstStyle/>
        <a:p>
          <a:endParaRPr lang="en-US"/>
        </a:p>
      </dgm:t>
    </dgm:pt>
    <dgm:pt modelId="{366E4687-D01B-A24B-9AB4-E26034044432}">
      <dgm:prSet phldrT="[Text]"/>
      <dgm:spPr>
        <a:solidFill>
          <a:srgbClr val="2970BA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How</a:t>
          </a:r>
        </a:p>
      </dgm:t>
    </dgm:pt>
    <dgm:pt modelId="{883BC792-448D-354A-9EEB-DBB75A29176D}" type="parTrans" cxnId="{1F6AAE86-83B8-6D4C-A750-65E388DA8A9F}">
      <dgm:prSet/>
      <dgm:spPr/>
      <dgm:t>
        <a:bodyPr/>
        <a:lstStyle/>
        <a:p>
          <a:endParaRPr lang="en-US"/>
        </a:p>
      </dgm:t>
    </dgm:pt>
    <dgm:pt modelId="{33CE8362-FA89-504C-9B81-41A5E44183CF}" type="sibTrans" cxnId="{1F6AAE86-83B8-6D4C-A750-65E388DA8A9F}">
      <dgm:prSet/>
      <dgm:spPr/>
      <dgm:t>
        <a:bodyPr/>
        <a:lstStyle/>
        <a:p>
          <a:endParaRPr lang="en-US"/>
        </a:p>
      </dgm:t>
    </dgm:pt>
    <dgm:pt modelId="{6C6D8864-4559-C046-ADC0-C05BBF4AA597}">
      <dgm:prSet phldrT="[Text]"/>
      <dgm:spPr>
        <a:solidFill>
          <a:srgbClr val="2970BA"/>
        </a:solidFill>
      </dgm:spPr>
      <dgm:t>
        <a:bodyPr/>
        <a:lstStyle/>
        <a:p>
          <a:r>
            <a:rPr lang="en-US" dirty="0">
              <a:solidFill>
                <a:schemeClr val="bg1"/>
              </a:solidFill>
            </a:rPr>
            <a:t>When</a:t>
          </a:r>
        </a:p>
      </dgm:t>
    </dgm:pt>
    <dgm:pt modelId="{876F2D86-5208-7142-9424-43D17C394003}" type="parTrans" cxnId="{90CD5156-2AA5-A345-9FA9-75AC3C704573}">
      <dgm:prSet/>
      <dgm:spPr/>
      <dgm:t>
        <a:bodyPr/>
        <a:lstStyle/>
        <a:p>
          <a:endParaRPr lang="en-US"/>
        </a:p>
      </dgm:t>
    </dgm:pt>
    <dgm:pt modelId="{56428910-00D0-1246-B63B-0A2E8E3BF478}" type="sibTrans" cxnId="{90CD5156-2AA5-A345-9FA9-75AC3C704573}">
      <dgm:prSet/>
      <dgm:spPr/>
      <dgm:t>
        <a:bodyPr/>
        <a:lstStyle/>
        <a:p>
          <a:endParaRPr lang="en-US"/>
        </a:p>
      </dgm:t>
    </dgm:pt>
    <dgm:pt modelId="{B2095D68-D356-9B4F-9302-0A2545543EDA}" type="pres">
      <dgm:prSet presAssocID="{57C91B2F-5803-2046-8ECD-EFEC2EBAB047}" presName="Name0" presStyleCnt="0">
        <dgm:presLayoutVars>
          <dgm:dir/>
          <dgm:resizeHandles val="exact"/>
        </dgm:presLayoutVars>
      </dgm:prSet>
      <dgm:spPr/>
    </dgm:pt>
    <dgm:pt modelId="{CE68D0D6-62C8-D642-A813-90DCCB8138F3}" type="pres">
      <dgm:prSet presAssocID="{57C91B2F-5803-2046-8ECD-EFEC2EBAB047}" presName="fgShape" presStyleLbl="fgShp" presStyleIdx="0" presStyleCnt="1"/>
      <dgm:spPr>
        <a:solidFill>
          <a:schemeClr val="bg1"/>
        </a:solidFill>
        <a:ln>
          <a:solidFill>
            <a:schemeClr val="bg1"/>
          </a:solidFill>
        </a:ln>
      </dgm:spPr>
    </dgm:pt>
    <dgm:pt modelId="{CE508CCB-75A2-1F48-AA1B-72E15BEDDF48}" type="pres">
      <dgm:prSet presAssocID="{57C91B2F-5803-2046-8ECD-EFEC2EBAB047}" presName="linComp" presStyleCnt="0"/>
      <dgm:spPr/>
    </dgm:pt>
    <dgm:pt modelId="{33F44125-82AE-AB46-9289-391E29A069BC}" type="pres">
      <dgm:prSet presAssocID="{327FA558-78B9-9944-BA20-E4B6C3FA9CD3}" presName="compNode" presStyleCnt="0"/>
      <dgm:spPr/>
    </dgm:pt>
    <dgm:pt modelId="{F38F5092-3787-374F-BCF7-F08781392FE4}" type="pres">
      <dgm:prSet presAssocID="{327FA558-78B9-9944-BA20-E4B6C3FA9CD3}" presName="bkgdShape" presStyleLbl="node1" presStyleIdx="0" presStyleCnt="3"/>
      <dgm:spPr/>
    </dgm:pt>
    <dgm:pt modelId="{6BC0F177-5C83-3D40-BE7C-1D65CDDDB27D}" type="pres">
      <dgm:prSet presAssocID="{327FA558-78B9-9944-BA20-E4B6C3FA9CD3}" presName="nodeTx" presStyleLbl="node1" presStyleIdx="0" presStyleCnt="3">
        <dgm:presLayoutVars>
          <dgm:bulletEnabled val="1"/>
        </dgm:presLayoutVars>
      </dgm:prSet>
      <dgm:spPr/>
    </dgm:pt>
    <dgm:pt modelId="{B4D99A06-E8A5-7141-8A2D-3057081DD82C}" type="pres">
      <dgm:prSet presAssocID="{327FA558-78B9-9944-BA20-E4B6C3FA9CD3}" presName="invisiNode" presStyleLbl="node1" presStyleIdx="0" presStyleCnt="3"/>
      <dgm:spPr/>
    </dgm:pt>
    <dgm:pt modelId="{188869B8-41EF-DB44-A770-37FD9800D104}" type="pres">
      <dgm:prSet presAssocID="{327FA558-78B9-9944-BA20-E4B6C3FA9CD3}" presName="imagNode" presStyleLbl="fgImgPlace1" presStyleIdx="0" presStyleCnt="3"/>
      <dgm:spPr>
        <a:blipFill dpi="0" rotWithShape="1">
          <a:blip xmlns:r="http://schemas.openxmlformats.org/officeDocument/2006/relationships" r:embed="rId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5349" t="5349" r="5349" b="5349"/>
          </a:stretch>
        </a:blipFill>
        <a:ln w="19050">
          <a:solidFill>
            <a:schemeClr val="bg1"/>
          </a:solidFill>
        </a:ln>
      </dgm:spPr>
      <dgm:extLst>
        <a:ext uri="{E40237B7-FDA0-4F09-8148-C483321AD2D9}">
          <dgm14:cNvPr xmlns:dgm14="http://schemas.microsoft.com/office/drawing/2010/diagram" id="0" name="" descr="Management with solid fill"/>
        </a:ext>
      </dgm:extLst>
    </dgm:pt>
    <dgm:pt modelId="{F18A64EA-4217-474D-BF15-94699D32FC23}" type="pres">
      <dgm:prSet presAssocID="{38580C5B-F9DD-E44B-9733-CDB4E6D06524}" presName="sibTrans" presStyleLbl="sibTrans2D1" presStyleIdx="0" presStyleCnt="0"/>
      <dgm:spPr/>
    </dgm:pt>
    <dgm:pt modelId="{AA609AE9-64EE-224F-AE62-FBFCEDEEAC02}" type="pres">
      <dgm:prSet presAssocID="{366E4687-D01B-A24B-9AB4-E26034044432}" presName="compNode" presStyleCnt="0"/>
      <dgm:spPr/>
    </dgm:pt>
    <dgm:pt modelId="{301AB228-BAC0-1245-9597-A6BB49EADE1F}" type="pres">
      <dgm:prSet presAssocID="{366E4687-D01B-A24B-9AB4-E26034044432}" presName="bkgdShape" presStyleLbl="node1" presStyleIdx="1" presStyleCnt="3"/>
      <dgm:spPr/>
    </dgm:pt>
    <dgm:pt modelId="{A4638711-4DBC-5B44-9E63-C8C8E6FCFC8D}" type="pres">
      <dgm:prSet presAssocID="{366E4687-D01B-A24B-9AB4-E26034044432}" presName="nodeTx" presStyleLbl="node1" presStyleIdx="1" presStyleCnt="3">
        <dgm:presLayoutVars>
          <dgm:bulletEnabled val="1"/>
        </dgm:presLayoutVars>
      </dgm:prSet>
      <dgm:spPr/>
    </dgm:pt>
    <dgm:pt modelId="{3CD8F5CF-539C-194D-87F1-BAFA9BB5671D}" type="pres">
      <dgm:prSet presAssocID="{366E4687-D01B-A24B-9AB4-E26034044432}" presName="invisiNode" presStyleLbl="node1" presStyleIdx="1" presStyleCnt="3"/>
      <dgm:spPr/>
    </dgm:pt>
    <dgm:pt modelId="{B74DD6EA-FA6F-7F44-B33F-54C1FAA571E0}" type="pres">
      <dgm:prSet presAssocID="{366E4687-D01B-A24B-9AB4-E26034044432}" presName="imagNode" presStyleLbl="fgImgPlace1" presStyleIdx="1" presStyleCnt="3"/>
      <dgm:spPr>
        <a:blipFill dpi="0" rotWithShape="1">
          <a:blip xmlns:r="http://schemas.openxmlformats.org/officeDocument/2006/relationships"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1290" t="1290" r="1290" b="1290"/>
          </a:stretch>
        </a:blipFill>
        <a:ln w="19050">
          <a:solidFill>
            <a:schemeClr val="bg1"/>
          </a:solidFill>
        </a:ln>
      </dgm:spPr>
      <dgm:extLst>
        <a:ext uri="{E40237B7-FDA0-4F09-8148-C483321AD2D9}">
          <dgm14:cNvPr xmlns:dgm14="http://schemas.microsoft.com/office/drawing/2010/diagram" id="0" name="" descr="Mailbox with solid fill"/>
        </a:ext>
      </dgm:extLst>
    </dgm:pt>
    <dgm:pt modelId="{E9B7241B-23F1-AE48-9AEE-846CC1B8D7D7}" type="pres">
      <dgm:prSet presAssocID="{33CE8362-FA89-504C-9B81-41A5E44183CF}" presName="sibTrans" presStyleLbl="sibTrans2D1" presStyleIdx="0" presStyleCnt="0"/>
      <dgm:spPr/>
    </dgm:pt>
    <dgm:pt modelId="{CEB5CB72-E66B-9843-94C5-8F3408769533}" type="pres">
      <dgm:prSet presAssocID="{6C6D8864-4559-C046-ADC0-C05BBF4AA597}" presName="compNode" presStyleCnt="0"/>
      <dgm:spPr/>
    </dgm:pt>
    <dgm:pt modelId="{5BB1C8A4-4D52-684B-B95B-D17B53BB5121}" type="pres">
      <dgm:prSet presAssocID="{6C6D8864-4559-C046-ADC0-C05BBF4AA597}" presName="bkgdShape" presStyleLbl="node1" presStyleIdx="2" presStyleCnt="3"/>
      <dgm:spPr/>
    </dgm:pt>
    <dgm:pt modelId="{551E1870-2648-CC4E-A15A-699B4E815FB2}" type="pres">
      <dgm:prSet presAssocID="{6C6D8864-4559-C046-ADC0-C05BBF4AA597}" presName="nodeTx" presStyleLbl="node1" presStyleIdx="2" presStyleCnt="3">
        <dgm:presLayoutVars>
          <dgm:bulletEnabled val="1"/>
        </dgm:presLayoutVars>
      </dgm:prSet>
      <dgm:spPr/>
    </dgm:pt>
    <dgm:pt modelId="{4A32F0E8-1FC8-F04F-ADCB-708A1CC2D66F}" type="pres">
      <dgm:prSet presAssocID="{6C6D8864-4559-C046-ADC0-C05BBF4AA597}" presName="invisiNode" presStyleLbl="node1" presStyleIdx="2" presStyleCnt="3"/>
      <dgm:spPr/>
    </dgm:pt>
    <dgm:pt modelId="{3ED822E0-DDD5-144A-8079-FB6A167833AA}" type="pres">
      <dgm:prSet presAssocID="{6C6D8864-4559-C046-ADC0-C05BBF4AA597}" presName="imagNode" presStyleLbl="fgImgPlace1" presStyleIdx="2" presStyleCnt="3"/>
      <dgm:spPr>
        <a:blipFill dpi="0" rotWithShape="1">
          <a:blip xmlns:r="http://schemas.openxmlformats.org/officeDocument/2006/relationships"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5349" t="5349" r="5349" b="5349"/>
          </a:stretch>
        </a:blipFill>
        <a:ln w="19050">
          <a:solidFill>
            <a:schemeClr val="bg1"/>
          </a:solidFill>
        </a:ln>
      </dgm:spPr>
      <dgm:extLst>
        <a:ext uri="{E40237B7-FDA0-4F09-8148-C483321AD2D9}">
          <dgm14:cNvPr xmlns:dgm14="http://schemas.microsoft.com/office/drawing/2010/diagram" id="0" name="" descr="Daily calendar with solid fill"/>
        </a:ext>
      </dgm:extLst>
    </dgm:pt>
  </dgm:ptLst>
  <dgm:cxnLst>
    <dgm:cxn modelId="{F3F93901-5A6F-1E4C-AE60-1BB4118CBF0D}" type="presOf" srcId="{6C6D8864-4559-C046-ADC0-C05BBF4AA597}" destId="{551E1870-2648-CC4E-A15A-699B4E815FB2}" srcOrd="1" destOrd="0" presId="urn:microsoft.com/office/officeart/2005/8/layout/hList7"/>
    <dgm:cxn modelId="{EAC4DA07-1FCF-4849-8D07-179F17513CAE}" type="presOf" srcId="{38580C5B-F9DD-E44B-9733-CDB4E6D06524}" destId="{F18A64EA-4217-474D-BF15-94699D32FC23}" srcOrd="0" destOrd="0" presId="urn:microsoft.com/office/officeart/2005/8/layout/hList7"/>
    <dgm:cxn modelId="{43C8BA35-50E3-7E4E-86BC-2CB411A64D6A}" type="presOf" srcId="{366E4687-D01B-A24B-9AB4-E26034044432}" destId="{301AB228-BAC0-1245-9597-A6BB49EADE1F}" srcOrd="0" destOrd="0" presId="urn:microsoft.com/office/officeart/2005/8/layout/hList7"/>
    <dgm:cxn modelId="{7C30F13D-159E-DF47-BB51-020F8A0BF4F3}" type="presOf" srcId="{57C91B2F-5803-2046-8ECD-EFEC2EBAB047}" destId="{B2095D68-D356-9B4F-9302-0A2545543EDA}" srcOrd="0" destOrd="0" presId="urn:microsoft.com/office/officeart/2005/8/layout/hList7"/>
    <dgm:cxn modelId="{90CD5156-2AA5-A345-9FA9-75AC3C704573}" srcId="{57C91B2F-5803-2046-8ECD-EFEC2EBAB047}" destId="{6C6D8864-4559-C046-ADC0-C05BBF4AA597}" srcOrd="2" destOrd="0" parTransId="{876F2D86-5208-7142-9424-43D17C394003}" sibTransId="{56428910-00D0-1246-B63B-0A2E8E3BF478}"/>
    <dgm:cxn modelId="{1F6AAE86-83B8-6D4C-A750-65E388DA8A9F}" srcId="{57C91B2F-5803-2046-8ECD-EFEC2EBAB047}" destId="{366E4687-D01B-A24B-9AB4-E26034044432}" srcOrd="1" destOrd="0" parTransId="{883BC792-448D-354A-9EEB-DBB75A29176D}" sibTransId="{33CE8362-FA89-504C-9B81-41A5E44183CF}"/>
    <dgm:cxn modelId="{6A3EEE8A-8D80-2245-8AE4-4DC5D6B70197}" srcId="{57C91B2F-5803-2046-8ECD-EFEC2EBAB047}" destId="{327FA558-78B9-9944-BA20-E4B6C3FA9CD3}" srcOrd="0" destOrd="0" parTransId="{BCEF7638-A6EC-7644-855B-C3BA3236A2CB}" sibTransId="{38580C5B-F9DD-E44B-9733-CDB4E6D06524}"/>
    <dgm:cxn modelId="{ADF6769B-0D24-6F4D-9965-AD2F6C71F4C0}" type="presOf" srcId="{327FA558-78B9-9944-BA20-E4B6C3FA9CD3}" destId="{F38F5092-3787-374F-BCF7-F08781392FE4}" srcOrd="0" destOrd="0" presId="urn:microsoft.com/office/officeart/2005/8/layout/hList7"/>
    <dgm:cxn modelId="{1B0563B0-B3B6-1848-90A6-941C10BFFE6A}" type="presOf" srcId="{6C6D8864-4559-C046-ADC0-C05BBF4AA597}" destId="{5BB1C8A4-4D52-684B-B95B-D17B53BB5121}" srcOrd="0" destOrd="0" presId="urn:microsoft.com/office/officeart/2005/8/layout/hList7"/>
    <dgm:cxn modelId="{C1F248C7-F03F-CF48-8894-59F3A1B8F863}" type="presOf" srcId="{366E4687-D01B-A24B-9AB4-E26034044432}" destId="{A4638711-4DBC-5B44-9E63-C8C8E6FCFC8D}" srcOrd="1" destOrd="0" presId="urn:microsoft.com/office/officeart/2005/8/layout/hList7"/>
    <dgm:cxn modelId="{15FF14D0-C824-5D4C-AB15-87A06079EC7A}" type="presOf" srcId="{33CE8362-FA89-504C-9B81-41A5E44183CF}" destId="{E9B7241B-23F1-AE48-9AEE-846CC1B8D7D7}" srcOrd="0" destOrd="0" presId="urn:microsoft.com/office/officeart/2005/8/layout/hList7"/>
    <dgm:cxn modelId="{07227FFB-A4CB-C84C-8159-2A882429E5CA}" type="presOf" srcId="{327FA558-78B9-9944-BA20-E4B6C3FA9CD3}" destId="{6BC0F177-5C83-3D40-BE7C-1D65CDDDB27D}" srcOrd="1" destOrd="0" presId="urn:microsoft.com/office/officeart/2005/8/layout/hList7"/>
    <dgm:cxn modelId="{7F25D40C-D95C-2347-97E8-F197988C3119}" type="presParOf" srcId="{B2095D68-D356-9B4F-9302-0A2545543EDA}" destId="{CE68D0D6-62C8-D642-A813-90DCCB8138F3}" srcOrd="0" destOrd="0" presId="urn:microsoft.com/office/officeart/2005/8/layout/hList7"/>
    <dgm:cxn modelId="{F9B97A37-9008-8046-BF90-F3E148E4FF94}" type="presParOf" srcId="{B2095D68-D356-9B4F-9302-0A2545543EDA}" destId="{CE508CCB-75A2-1F48-AA1B-72E15BEDDF48}" srcOrd="1" destOrd="0" presId="urn:microsoft.com/office/officeart/2005/8/layout/hList7"/>
    <dgm:cxn modelId="{85B541F8-1F80-3947-B724-C9B2D3DF0D11}" type="presParOf" srcId="{CE508CCB-75A2-1F48-AA1B-72E15BEDDF48}" destId="{33F44125-82AE-AB46-9289-391E29A069BC}" srcOrd="0" destOrd="0" presId="urn:microsoft.com/office/officeart/2005/8/layout/hList7"/>
    <dgm:cxn modelId="{7BFF0FD0-A7B7-AD46-A1A2-3BE37BB0B626}" type="presParOf" srcId="{33F44125-82AE-AB46-9289-391E29A069BC}" destId="{F38F5092-3787-374F-BCF7-F08781392FE4}" srcOrd="0" destOrd="0" presId="urn:microsoft.com/office/officeart/2005/8/layout/hList7"/>
    <dgm:cxn modelId="{FABFE5DD-3B36-7749-975B-2FA62131CABB}" type="presParOf" srcId="{33F44125-82AE-AB46-9289-391E29A069BC}" destId="{6BC0F177-5C83-3D40-BE7C-1D65CDDDB27D}" srcOrd="1" destOrd="0" presId="urn:microsoft.com/office/officeart/2005/8/layout/hList7"/>
    <dgm:cxn modelId="{A4C0C308-F413-A148-899D-57397B64EFCA}" type="presParOf" srcId="{33F44125-82AE-AB46-9289-391E29A069BC}" destId="{B4D99A06-E8A5-7141-8A2D-3057081DD82C}" srcOrd="2" destOrd="0" presId="urn:microsoft.com/office/officeart/2005/8/layout/hList7"/>
    <dgm:cxn modelId="{97CCCF33-A2F1-F34B-9496-00CCDD639FDE}" type="presParOf" srcId="{33F44125-82AE-AB46-9289-391E29A069BC}" destId="{188869B8-41EF-DB44-A770-37FD9800D104}" srcOrd="3" destOrd="0" presId="urn:microsoft.com/office/officeart/2005/8/layout/hList7"/>
    <dgm:cxn modelId="{0EBE6D6E-648A-5A43-BE1F-73A8D06925BC}" type="presParOf" srcId="{CE508CCB-75A2-1F48-AA1B-72E15BEDDF48}" destId="{F18A64EA-4217-474D-BF15-94699D32FC23}" srcOrd="1" destOrd="0" presId="urn:microsoft.com/office/officeart/2005/8/layout/hList7"/>
    <dgm:cxn modelId="{439A7B49-810F-864F-A06A-84F84B33F47D}" type="presParOf" srcId="{CE508CCB-75A2-1F48-AA1B-72E15BEDDF48}" destId="{AA609AE9-64EE-224F-AE62-FBFCEDEEAC02}" srcOrd="2" destOrd="0" presId="urn:microsoft.com/office/officeart/2005/8/layout/hList7"/>
    <dgm:cxn modelId="{2F50C055-7E1C-CC41-A6B1-58938B38754D}" type="presParOf" srcId="{AA609AE9-64EE-224F-AE62-FBFCEDEEAC02}" destId="{301AB228-BAC0-1245-9597-A6BB49EADE1F}" srcOrd="0" destOrd="0" presId="urn:microsoft.com/office/officeart/2005/8/layout/hList7"/>
    <dgm:cxn modelId="{2D49510F-315D-D44C-9B60-F16EE46272CD}" type="presParOf" srcId="{AA609AE9-64EE-224F-AE62-FBFCEDEEAC02}" destId="{A4638711-4DBC-5B44-9E63-C8C8E6FCFC8D}" srcOrd="1" destOrd="0" presId="urn:microsoft.com/office/officeart/2005/8/layout/hList7"/>
    <dgm:cxn modelId="{E745BD53-0BF0-FF4D-845C-0713CD149BA7}" type="presParOf" srcId="{AA609AE9-64EE-224F-AE62-FBFCEDEEAC02}" destId="{3CD8F5CF-539C-194D-87F1-BAFA9BB5671D}" srcOrd="2" destOrd="0" presId="urn:microsoft.com/office/officeart/2005/8/layout/hList7"/>
    <dgm:cxn modelId="{02E5F013-4CE8-0545-BC43-98F92088475E}" type="presParOf" srcId="{AA609AE9-64EE-224F-AE62-FBFCEDEEAC02}" destId="{B74DD6EA-FA6F-7F44-B33F-54C1FAA571E0}" srcOrd="3" destOrd="0" presId="urn:microsoft.com/office/officeart/2005/8/layout/hList7"/>
    <dgm:cxn modelId="{F0492B80-9860-544F-B0AE-5D60818D7EAF}" type="presParOf" srcId="{CE508CCB-75A2-1F48-AA1B-72E15BEDDF48}" destId="{E9B7241B-23F1-AE48-9AEE-846CC1B8D7D7}" srcOrd="3" destOrd="0" presId="urn:microsoft.com/office/officeart/2005/8/layout/hList7"/>
    <dgm:cxn modelId="{39A23D43-3F97-2145-829D-0A0F3E9CA101}" type="presParOf" srcId="{CE508CCB-75A2-1F48-AA1B-72E15BEDDF48}" destId="{CEB5CB72-E66B-9843-94C5-8F3408769533}" srcOrd="4" destOrd="0" presId="urn:microsoft.com/office/officeart/2005/8/layout/hList7"/>
    <dgm:cxn modelId="{4B36168B-0CAF-E748-9BE0-958FCE6C7CB9}" type="presParOf" srcId="{CEB5CB72-E66B-9843-94C5-8F3408769533}" destId="{5BB1C8A4-4D52-684B-B95B-D17B53BB5121}" srcOrd="0" destOrd="0" presId="urn:microsoft.com/office/officeart/2005/8/layout/hList7"/>
    <dgm:cxn modelId="{D452555C-8504-284A-BB27-35E602241A0C}" type="presParOf" srcId="{CEB5CB72-E66B-9843-94C5-8F3408769533}" destId="{551E1870-2648-CC4E-A15A-699B4E815FB2}" srcOrd="1" destOrd="0" presId="urn:microsoft.com/office/officeart/2005/8/layout/hList7"/>
    <dgm:cxn modelId="{FABFF2DA-BEBB-0240-B903-F66164F48BAC}" type="presParOf" srcId="{CEB5CB72-E66B-9843-94C5-8F3408769533}" destId="{4A32F0E8-1FC8-F04F-ADCB-708A1CC2D66F}" srcOrd="2" destOrd="0" presId="urn:microsoft.com/office/officeart/2005/8/layout/hList7"/>
    <dgm:cxn modelId="{9C79A8BE-A6FE-C64B-A277-493F4D760EAD}" type="presParOf" srcId="{CEB5CB72-E66B-9843-94C5-8F3408769533}" destId="{3ED822E0-DDD5-144A-8079-FB6A167833AA}" srcOrd="3" destOrd="0" presId="urn:microsoft.com/office/officeart/2005/8/layout/hList7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CEC9FF-4638-3E41-8FEA-74485687C8B3}">
      <dsp:nvSpPr>
        <dsp:cNvPr id="0" name=""/>
        <dsp:cNvSpPr/>
      </dsp:nvSpPr>
      <dsp:spPr>
        <a:xfrm rot="5400000">
          <a:off x="7117033" y="-3724488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</a:rPr>
            <a:t>The accessibility of all internal and external communications, as well as a11y information that is conveyed to customers.</a:t>
          </a:r>
        </a:p>
      </dsp:txBody>
      <dsp:txXfrm rot="-5400000">
        <a:off x="3322381" y="97395"/>
        <a:ext cx="8119909" cy="503372"/>
      </dsp:txXfrm>
    </dsp:sp>
    <dsp:sp modelId="{5CD1EDB9-9D59-F348-BF8E-499C18BE82CF}">
      <dsp:nvSpPr>
        <dsp:cNvPr id="0" name=""/>
        <dsp:cNvSpPr/>
      </dsp:nvSpPr>
      <dsp:spPr>
        <a:xfrm>
          <a:off x="1754" y="435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mmunication</a:t>
          </a:r>
        </a:p>
      </dsp:txBody>
      <dsp:txXfrm>
        <a:off x="35793" y="34474"/>
        <a:ext cx="3252547" cy="629215"/>
      </dsp:txXfrm>
    </dsp:sp>
    <dsp:sp modelId="{9BB40BA9-3D0A-D74F-B03A-8222386DC2FE}">
      <dsp:nvSpPr>
        <dsp:cNvPr id="0" name=""/>
        <dsp:cNvSpPr/>
      </dsp:nvSpPr>
      <dsp:spPr>
        <a:xfrm rot="5400000">
          <a:off x="7117033" y="-2992330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i="0" kern="1200" dirty="0">
              <a:solidFill>
                <a:schemeClr val="tx1"/>
              </a:solidFill>
            </a:rPr>
            <a:t>Ongoing colleague education to build a11y awareness and fill a11y knowledge and skill gaps. 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3322381" y="829553"/>
        <a:ext cx="8119909" cy="503372"/>
      </dsp:txXfrm>
    </dsp:sp>
    <dsp:sp modelId="{43AEC466-33F8-BF49-960C-7244AC77F425}">
      <dsp:nvSpPr>
        <dsp:cNvPr id="0" name=""/>
        <dsp:cNvSpPr/>
      </dsp:nvSpPr>
      <dsp:spPr>
        <a:xfrm>
          <a:off x="1754" y="732593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Knowledge &amp; skills</a:t>
          </a:r>
        </a:p>
      </dsp:txBody>
      <dsp:txXfrm>
        <a:off x="35793" y="766632"/>
        <a:ext cx="3252547" cy="629215"/>
      </dsp:txXfrm>
    </dsp:sp>
    <dsp:sp modelId="{1431AC90-64E3-F14D-A40B-2D6F995F81B3}">
      <dsp:nvSpPr>
        <dsp:cNvPr id="0" name=""/>
        <dsp:cNvSpPr/>
      </dsp:nvSpPr>
      <dsp:spPr>
        <a:xfrm rot="5400000">
          <a:off x="7117033" y="-2260172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i="0" kern="1200" dirty="0">
              <a:solidFill>
                <a:schemeClr val="tx1"/>
              </a:solidFill>
            </a:rPr>
            <a:t>Accessibility assistance provided to customers with disabilities.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3322381" y="1561711"/>
        <a:ext cx="8119909" cy="503372"/>
      </dsp:txXfrm>
    </dsp:sp>
    <dsp:sp modelId="{947B7BEA-2B2D-D149-8DF7-760919732A4F}">
      <dsp:nvSpPr>
        <dsp:cNvPr id="0" name=""/>
        <dsp:cNvSpPr/>
      </dsp:nvSpPr>
      <dsp:spPr>
        <a:xfrm>
          <a:off x="1754" y="1464751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ustomer support</a:t>
          </a:r>
        </a:p>
      </dsp:txBody>
      <dsp:txXfrm>
        <a:off x="35793" y="1498790"/>
        <a:ext cx="3252547" cy="629215"/>
      </dsp:txXfrm>
    </dsp:sp>
    <dsp:sp modelId="{921E4C4E-6C41-0345-8969-9106695913E0}">
      <dsp:nvSpPr>
        <dsp:cNvPr id="0" name=""/>
        <dsp:cNvSpPr/>
      </dsp:nvSpPr>
      <dsp:spPr>
        <a:xfrm rot="5400000">
          <a:off x="7117033" y="-1528014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b="0" i="0" u="none" kern="1200" dirty="0">
              <a:solidFill>
                <a:schemeClr val="tx1"/>
              </a:solidFill>
            </a:rPr>
            <a:t>Incorporation of web/software/hardware a11y considerations in ICT processes from conception to maintenance &amp; obsolescence.</a:t>
          </a:r>
          <a:endParaRPr lang="en-US" sz="1600" kern="1200" dirty="0">
            <a:solidFill>
              <a:schemeClr val="tx1"/>
            </a:solidFill>
          </a:endParaRPr>
        </a:p>
      </dsp:txBody>
      <dsp:txXfrm rot="-5400000">
        <a:off x="3322381" y="2293869"/>
        <a:ext cx="8119909" cy="503372"/>
      </dsp:txXfrm>
    </dsp:sp>
    <dsp:sp modelId="{DC2C19D6-460D-B84D-A5F1-661A10115421}">
      <dsp:nvSpPr>
        <dsp:cNvPr id="0" name=""/>
        <dsp:cNvSpPr/>
      </dsp:nvSpPr>
      <dsp:spPr>
        <a:xfrm>
          <a:off x="1754" y="2196909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CT development lifecycle</a:t>
          </a:r>
        </a:p>
      </dsp:txBody>
      <dsp:txXfrm>
        <a:off x="35793" y="2230948"/>
        <a:ext cx="3252547" cy="629215"/>
      </dsp:txXfrm>
    </dsp:sp>
    <dsp:sp modelId="{0159831E-10B0-0849-9FE1-3C62584DCAAA}">
      <dsp:nvSpPr>
        <dsp:cNvPr id="0" name=""/>
        <dsp:cNvSpPr/>
      </dsp:nvSpPr>
      <dsp:spPr>
        <a:xfrm rot="5400000">
          <a:off x="7117033" y="-795856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</a:rPr>
            <a:t>Employee application and retention best practices designed to ensure that all colleagues are supported regardless of ability.</a:t>
          </a:r>
        </a:p>
      </dsp:txBody>
      <dsp:txXfrm rot="-5400000">
        <a:off x="3322381" y="3026027"/>
        <a:ext cx="8119909" cy="503372"/>
      </dsp:txXfrm>
    </dsp:sp>
    <dsp:sp modelId="{69D9BAD7-14B5-C046-81C5-EA1D15EA3AA8}">
      <dsp:nvSpPr>
        <dsp:cNvPr id="0" name=""/>
        <dsp:cNvSpPr/>
      </dsp:nvSpPr>
      <dsp:spPr>
        <a:xfrm>
          <a:off x="1754" y="2929067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ersonnel</a:t>
          </a:r>
        </a:p>
      </dsp:txBody>
      <dsp:txXfrm>
        <a:off x="35793" y="2963106"/>
        <a:ext cx="3252547" cy="629215"/>
      </dsp:txXfrm>
    </dsp:sp>
    <dsp:sp modelId="{F67D2AD7-A9BA-1F4E-B7E7-47386DBC8380}">
      <dsp:nvSpPr>
        <dsp:cNvPr id="0" name=""/>
        <dsp:cNvSpPr/>
      </dsp:nvSpPr>
      <dsp:spPr>
        <a:xfrm rot="5400000">
          <a:off x="7117033" y="-63698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</a:rPr>
            <a:t>A strategic process that concentrates on finding and acquiring accessible products and services.</a:t>
          </a:r>
        </a:p>
      </dsp:txBody>
      <dsp:txXfrm rot="-5400000">
        <a:off x="3322381" y="3758185"/>
        <a:ext cx="8119909" cy="503372"/>
      </dsp:txXfrm>
    </dsp:sp>
    <dsp:sp modelId="{300EA6BB-264F-C147-A87B-0E442F24934B}">
      <dsp:nvSpPr>
        <dsp:cNvPr id="0" name=""/>
        <dsp:cNvSpPr/>
      </dsp:nvSpPr>
      <dsp:spPr>
        <a:xfrm>
          <a:off x="1754" y="3661225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rocurement</a:t>
          </a:r>
        </a:p>
      </dsp:txBody>
      <dsp:txXfrm>
        <a:off x="35793" y="3695264"/>
        <a:ext cx="3252547" cy="629215"/>
      </dsp:txXfrm>
    </dsp:sp>
    <dsp:sp modelId="{66FFC680-CB95-FC49-8D2D-1846A64FA5C8}">
      <dsp:nvSpPr>
        <dsp:cNvPr id="0" name=""/>
        <dsp:cNvSpPr/>
      </dsp:nvSpPr>
      <dsp:spPr>
        <a:xfrm rot="5400000">
          <a:off x="7117033" y="668459"/>
          <a:ext cx="557834" cy="8147140"/>
        </a:xfrm>
        <a:prstGeom prst="round2Same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solidFill>
                <a:schemeClr val="tx1"/>
              </a:solidFill>
            </a:rPr>
            <a:t>The attitudes, sensitivity, and behaviors around accessibility, including internal interaction, perception, and decision-making.</a:t>
          </a:r>
        </a:p>
      </dsp:txBody>
      <dsp:txXfrm rot="-5400000">
        <a:off x="3322381" y="4490343"/>
        <a:ext cx="8119909" cy="503372"/>
      </dsp:txXfrm>
    </dsp:sp>
    <dsp:sp modelId="{CE67FFA1-7782-A647-874B-002FD8362C4B}">
      <dsp:nvSpPr>
        <dsp:cNvPr id="0" name=""/>
        <dsp:cNvSpPr/>
      </dsp:nvSpPr>
      <dsp:spPr>
        <a:xfrm>
          <a:off x="1754" y="4393383"/>
          <a:ext cx="3320625" cy="697293"/>
        </a:xfrm>
        <a:prstGeom prst="roundRect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ulture</a:t>
          </a:r>
        </a:p>
      </dsp:txBody>
      <dsp:txXfrm>
        <a:off x="35793" y="4427422"/>
        <a:ext cx="3252547" cy="6292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232DB5-7B6F-6C4F-A27A-E455892E4A6F}">
      <dsp:nvSpPr>
        <dsp:cNvPr id="0" name=""/>
        <dsp:cNvSpPr/>
      </dsp:nvSpPr>
      <dsp:spPr>
        <a:xfrm>
          <a:off x="1295793" y="1803"/>
          <a:ext cx="2433862" cy="1798615"/>
        </a:xfrm>
        <a:prstGeom prst="rect">
          <a:avLst/>
        </a:prstGeom>
        <a:blipFill>
          <a:blip xmlns:r="http://schemas.openxmlformats.org/officeDocument/2006/relationships" r:embed="rId1"/>
          <a:srcRect/>
          <a:stretch>
            <a:fillRect l="-17000" r="-1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CBF5FD-AE6B-2849-AB45-81BE97386BC6}">
      <dsp:nvSpPr>
        <dsp:cNvPr id="0" name=""/>
        <dsp:cNvSpPr/>
      </dsp:nvSpPr>
      <dsp:spPr>
        <a:xfrm>
          <a:off x="1606855" y="1474295"/>
          <a:ext cx="2459042" cy="504007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600" b="1" kern="1200" dirty="0">
              <a:solidFill>
                <a:schemeClr val="accent3">
                  <a:lumMod val="75000"/>
                </a:schemeClr>
              </a:solidFill>
            </a:rPr>
            <a:t>Static documents</a:t>
          </a:r>
        </a:p>
      </dsp:txBody>
      <dsp:txXfrm>
        <a:off x="1606855" y="1474295"/>
        <a:ext cx="2459042" cy="504007"/>
      </dsp:txXfrm>
    </dsp:sp>
    <dsp:sp modelId="{E9767C51-22DE-4E45-B031-3D375A061EB9}">
      <dsp:nvSpPr>
        <dsp:cNvPr id="0" name=""/>
        <dsp:cNvSpPr/>
      </dsp:nvSpPr>
      <dsp:spPr>
        <a:xfrm>
          <a:off x="1295793" y="2237224"/>
          <a:ext cx="2433862" cy="1798615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 l="-14000" r="-14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4F7316-6A54-FB46-A9A1-A73029A87BA5}">
      <dsp:nvSpPr>
        <dsp:cNvPr id="0" name=""/>
        <dsp:cNvSpPr/>
      </dsp:nvSpPr>
      <dsp:spPr>
        <a:xfrm>
          <a:off x="1606855" y="3709717"/>
          <a:ext cx="2459042" cy="504007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600" b="1" kern="1200" dirty="0">
              <a:solidFill>
                <a:schemeClr val="accent3">
                  <a:lumMod val="75000"/>
                </a:schemeClr>
              </a:solidFill>
            </a:rPr>
            <a:t>Self-paced courses</a:t>
          </a:r>
        </a:p>
      </dsp:txBody>
      <dsp:txXfrm>
        <a:off x="1606855" y="3709717"/>
        <a:ext cx="2459042" cy="504007"/>
      </dsp:txXfrm>
    </dsp:sp>
    <dsp:sp modelId="{7BF75E8D-2F23-AF47-950D-117A746CDBBB}">
      <dsp:nvSpPr>
        <dsp:cNvPr id="0" name=""/>
        <dsp:cNvSpPr/>
      </dsp:nvSpPr>
      <dsp:spPr>
        <a:xfrm>
          <a:off x="1295793" y="4472646"/>
          <a:ext cx="2433862" cy="1798615"/>
        </a:xfrm>
        <a:prstGeom prst="rect">
          <a:avLst/>
        </a:prstGeom>
        <a:blipFill>
          <a:blip xmlns:r="http://schemas.openxmlformats.org/officeDocument/2006/relationships" r:embed="rId3"/>
          <a:srcRect/>
          <a:stretch>
            <a:fillRect l="-14000" r="-14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C37A7D-2761-9247-9602-53E2FCF94573}">
      <dsp:nvSpPr>
        <dsp:cNvPr id="0" name=""/>
        <dsp:cNvSpPr/>
      </dsp:nvSpPr>
      <dsp:spPr>
        <a:xfrm>
          <a:off x="1606855" y="5945139"/>
          <a:ext cx="2459042" cy="504007"/>
        </a:xfrm>
        <a:prstGeom prst="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5000"/>
            </a:spcAft>
            <a:buNone/>
          </a:pPr>
          <a:r>
            <a:rPr lang="en-US" sz="1600" b="1" kern="1200" dirty="0">
              <a:solidFill>
                <a:schemeClr val="accent3">
                  <a:lumMod val="75000"/>
                </a:schemeClr>
              </a:solidFill>
            </a:rPr>
            <a:t>Trainings and webinars</a:t>
          </a:r>
        </a:p>
      </dsp:txBody>
      <dsp:txXfrm>
        <a:off x="1606855" y="5945139"/>
        <a:ext cx="2459042" cy="5040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94EA18-DE19-5246-9BCA-BE231EA6BA71}">
      <dsp:nvSpPr>
        <dsp:cNvPr id="0" name=""/>
        <dsp:cNvSpPr/>
      </dsp:nvSpPr>
      <dsp:spPr>
        <a:xfrm>
          <a:off x="3415916" y="0"/>
          <a:ext cx="2945100" cy="2945548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DA40BE-0FED-9643-BD2E-40138CB31D56}">
      <dsp:nvSpPr>
        <dsp:cNvPr id="0" name=""/>
        <dsp:cNvSpPr/>
      </dsp:nvSpPr>
      <dsp:spPr>
        <a:xfrm>
          <a:off x="4066880" y="1063432"/>
          <a:ext cx="1636535" cy="818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bg1"/>
              </a:solidFill>
            </a:rPr>
            <a:t>Reviewed options</a:t>
          </a:r>
        </a:p>
      </dsp:txBody>
      <dsp:txXfrm>
        <a:off x="4066880" y="1063432"/>
        <a:ext cx="1636535" cy="818072"/>
      </dsp:txXfrm>
    </dsp:sp>
    <dsp:sp modelId="{07748F37-23DB-1B49-AA8A-7CDFBB074AF3}">
      <dsp:nvSpPr>
        <dsp:cNvPr id="0" name=""/>
        <dsp:cNvSpPr/>
      </dsp:nvSpPr>
      <dsp:spPr>
        <a:xfrm>
          <a:off x="2597925" y="1692436"/>
          <a:ext cx="2945100" cy="2945548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508ECD-D327-674F-B231-D9C30B5C8A27}">
      <dsp:nvSpPr>
        <dsp:cNvPr id="0" name=""/>
        <dsp:cNvSpPr/>
      </dsp:nvSpPr>
      <dsp:spPr>
        <a:xfrm>
          <a:off x="3252207" y="2765658"/>
          <a:ext cx="1636535" cy="818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bg1"/>
              </a:solidFill>
            </a:rPr>
            <a:t>Calculated risk vs. reward</a:t>
          </a:r>
        </a:p>
      </dsp:txBody>
      <dsp:txXfrm>
        <a:off x="3252207" y="2765658"/>
        <a:ext cx="1636535" cy="818072"/>
      </dsp:txXfrm>
    </dsp:sp>
    <dsp:sp modelId="{6BFEA6A2-A900-E34E-97C5-C6C9C1FCF1CE}">
      <dsp:nvSpPr>
        <dsp:cNvPr id="0" name=""/>
        <dsp:cNvSpPr/>
      </dsp:nvSpPr>
      <dsp:spPr>
        <a:xfrm>
          <a:off x="3625530" y="3587402"/>
          <a:ext cx="2530297" cy="2531311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CB926A-D467-8C47-80E1-1C4D4D798693}">
      <dsp:nvSpPr>
        <dsp:cNvPr id="0" name=""/>
        <dsp:cNvSpPr/>
      </dsp:nvSpPr>
      <dsp:spPr>
        <a:xfrm>
          <a:off x="4070752" y="4470332"/>
          <a:ext cx="1636535" cy="818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chemeClr val="bg1"/>
              </a:solidFill>
            </a:rPr>
            <a:t>Shopped around proposal</a:t>
          </a:r>
        </a:p>
      </dsp:txBody>
      <dsp:txXfrm>
        <a:off x="4070752" y="4470332"/>
        <a:ext cx="1636535" cy="8180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8F5092-3787-374F-BCF7-F08781392FE4}">
      <dsp:nvSpPr>
        <dsp:cNvPr id="0" name=""/>
        <dsp:cNvSpPr/>
      </dsp:nvSpPr>
      <dsp:spPr>
        <a:xfrm>
          <a:off x="1527" y="0"/>
          <a:ext cx="2377138" cy="3382433"/>
        </a:xfrm>
        <a:prstGeom prst="roundRect">
          <a:avLst>
            <a:gd name="adj" fmla="val 10000"/>
          </a:avLst>
        </a:prstGeom>
        <a:solidFill>
          <a:srgbClr val="2970B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0" tIns="320040" rIns="320040" bIns="320040" numCol="1" spcCol="1270" anchor="ctr" anchorCtr="0">
          <a:noAutofit/>
        </a:bodyPr>
        <a:lstStyle/>
        <a:p>
          <a:pPr marL="0" lvl="0" indent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500" kern="1200" dirty="0">
              <a:solidFill>
                <a:schemeClr val="bg1"/>
              </a:solidFill>
            </a:rPr>
            <a:t>Who</a:t>
          </a:r>
        </a:p>
      </dsp:txBody>
      <dsp:txXfrm>
        <a:off x="1527" y="1352973"/>
        <a:ext cx="2377138" cy="1352973"/>
      </dsp:txXfrm>
    </dsp:sp>
    <dsp:sp modelId="{188869B8-41EF-DB44-A770-37FD9800D104}">
      <dsp:nvSpPr>
        <dsp:cNvPr id="0" name=""/>
        <dsp:cNvSpPr/>
      </dsp:nvSpPr>
      <dsp:spPr>
        <a:xfrm>
          <a:off x="626922" y="202945"/>
          <a:ext cx="1126350" cy="1126350"/>
        </a:xfrm>
        <a:prstGeom prst="ellipse">
          <a:avLst/>
        </a:prstGeom>
        <a:blipFill dpi="0" rotWithShape="1">
          <a:blip xmlns:r="http://schemas.openxmlformats.org/officeDocument/2006/relationships" r:embed="rId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5349" t="5349" r="5349" b="5349"/>
          </a:stretch>
        </a:blipFill>
        <a:ln w="190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1AB228-BAC0-1245-9597-A6BB49EADE1F}">
      <dsp:nvSpPr>
        <dsp:cNvPr id="0" name=""/>
        <dsp:cNvSpPr/>
      </dsp:nvSpPr>
      <dsp:spPr>
        <a:xfrm>
          <a:off x="2449980" y="0"/>
          <a:ext cx="2377138" cy="3382433"/>
        </a:xfrm>
        <a:prstGeom prst="roundRect">
          <a:avLst>
            <a:gd name="adj" fmla="val 10000"/>
          </a:avLst>
        </a:prstGeom>
        <a:solidFill>
          <a:srgbClr val="2970B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0" tIns="320040" rIns="320040" bIns="320040" numCol="1" spcCol="1270" anchor="ctr" anchorCtr="0">
          <a:noAutofit/>
        </a:bodyPr>
        <a:lstStyle/>
        <a:p>
          <a:pPr marL="0" lvl="0" indent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500" kern="1200" dirty="0">
              <a:solidFill>
                <a:schemeClr val="bg1"/>
              </a:solidFill>
            </a:rPr>
            <a:t>How</a:t>
          </a:r>
        </a:p>
      </dsp:txBody>
      <dsp:txXfrm>
        <a:off x="2449980" y="1352973"/>
        <a:ext cx="2377138" cy="1352973"/>
      </dsp:txXfrm>
    </dsp:sp>
    <dsp:sp modelId="{B74DD6EA-FA6F-7F44-B33F-54C1FAA571E0}">
      <dsp:nvSpPr>
        <dsp:cNvPr id="0" name=""/>
        <dsp:cNvSpPr/>
      </dsp:nvSpPr>
      <dsp:spPr>
        <a:xfrm>
          <a:off x="3075374" y="202945"/>
          <a:ext cx="1126350" cy="1126350"/>
        </a:xfrm>
        <a:prstGeom prst="ellipse">
          <a:avLst/>
        </a:prstGeom>
        <a:blipFill dpi="0" rotWithShape="1">
          <a:blip xmlns:r="http://schemas.openxmlformats.org/officeDocument/2006/relationships"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1290" t="1290" r="1290" b="1290"/>
          </a:stretch>
        </a:blipFill>
        <a:ln w="190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B1C8A4-4D52-684B-B95B-D17B53BB5121}">
      <dsp:nvSpPr>
        <dsp:cNvPr id="0" name=""/>
        <dsp:cNvSpPr/>
      </dsp:nvSpPr>
      <dsp:spPr>
        <a:xfrm>
          <a:off x="4898433" y="0"/>
          <a:ext cx="2377138" cy="3382433"/>
        </a:xfrm>
        <a:prstGeom prst="roundRect">
          <a:avLst>
            <a:gd name="adj" fmla="val 10000"/>
          </a:avLst>
        </a:prstGeom>
        <a:solidFill>
          <a:srgbClr val="2970B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0" tIns="320040" rIns="320040" bIns="320040" numCol="1" spcCol="1270" anchor="ctr" anchorCtr="0">
          <a:noAutofit/>
        </a:bodyPr>
        <a:lstStyle/>
        <a:p>
          <a:pPr marL="0" lvl="0" indent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500" kern="1200" dirty="0">
              <a:solidFill>
                <a:schemeClr val="bg1"/>
              </a:solidFill>
            </a:rPr>
            <a:t>When</a:t>
          </a:r>
        </a:p>
      </dsp:txBody>
      <dsp:txXfrm>
        <a:off x="4898433" y="1352973"/>
        <a:ext cx="2377138" cy="1352973"/>
      </dsp:txXfrm>
    </dsp:sp>
    <dsp:sp modelId="{3ED822E0-DDD5-144A-8079-FB6A167833AA}">
      <dsp:nvSpPr>
        <dsp:cNvPr id="0" name=""/>
        <dsp:cNvSpPr/>
      </dsp:nvSpPr>
      <dsp:spPr>
        <a:xfrm>
          <a:off x="5523827" y="202945"/>
          <a:ext cx="1126350" cy="1126350"/>
        </a:xfrm>
        <a:prstGeom prst="ellipse">
          <a:avLst/>
        </a:prstGeom>
        <a:blipFill dpi="0" rotWithShape="1">
          <a:blip xmlns:r="http://schemas.openxmlformats.org/officeDocument/2006/relationships"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5349" t="5349" r="5349" b="5349"/>
          </a:stretch>
        </a:blipFill>
        <a:ln w="1905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68D0D6-62C8-D642-A813-90DCCB8138F3}">
      <dsp:nvSpPr>
        <dsp:cNvPr id="0" name=""/>
        <dsp:cNvSpPr/>
      </dsp:nvSpPr>
      <dsp:spPr>
        <a:xfrm>
          <a:off x="291084" y="2705946"/>
          <a:ext cx="6694932" cy="507364"/>
        </a:xfrm>
        <a:prstGeom prst="leftRightArrow">
          <a:avLst/>
        </a:prstGeom>
        <a:solidFill>
          <a:schemeClr val="bg1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BendingPictureCaption">
  <dgm:title val=""/>
  <dgm:desc val=""/>
  <dgm:catLst>
    <dgm:cat type="picture" pri="6000"/>
    <dgm:cat type="pictureconvert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7" srcId="0" destId="1" srcOrd="0" destOrd="0"/>
        <dgm:cxn modelId="8" srcId="0" destId="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diagram">
    <dgm:varLst>
      <dgm:dir/>
    </dgm:varLst>
    <dgm:choose name="Name0">
      <dgm:if name="Name1" func="var" arg="dir" op="equ" val="norm">
        <dgm:alg type="snake">
          <dgm:param type="off" val="ctr"/>
        </dgm:alg>
      </dgm:if>
      <dgm:else name="Name2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Image" refType="w" fact="0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.19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if>
          <dgm:else name="Name5">
            <dgm:constrLst>
              <dgm:constr type="l" for="ch" forName="Image" refType="w" fact="0.06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else>
        </dgm:choose>
        <dgm:layoutNode name="Image" styleLbl="bgShp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node0">
          <dgm:varLst>
            <dgm:bulletEnabled val="1"/>
          </dgm:varLst>
          <dgm:alg type="tx">
            <dgm:param type="txAnchorVertCh" val="mid"/>
            <dgm:param type="shpTxRTLAlignCh" val="r"/>
            <dgm:param type="lnSpAfParP" val="5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6733E23-2886-414B-A743-2E34A7B949E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4E4D7F-6ED9-4DA7-B003-30A8068293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DC6A4F-56CB-4200-ABB7-F269E8E14059}" type="datetimeFigureOut">
              <a:rPr lang="en-US" sz="1000" smtClean="0"/>
              <a:t>10/23/24</a:t>
            </a:fld>
            <a:endParaRPr lang="en-US" sz="1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19023E-1D91-4686-8B71-D1DCECAC7A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981440-7416-407D-9A7C-1B25AF5C51C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612F19-5E0F-4E01-911C-83A2E18E1A59}" type="slidenum">
              <a:rPr lang="en-US" sz="1000" smtClean="0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466858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Open Sans" panose="020B0606030504020204" pitchFamily="34" charset="0"/>
              </a:defRPr>
            </a:lvl1pPr>
          </a:lstStyle>
          <a:p>
            <a:fld id="{83A377D0-284A-BE48-83EC-CAB199AD39B1}" type="datetimeFigureOut">
              <a:rPr lang="en-US" smtClean="0"/>
              <a:pPr/>
              <a:t>10/23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Open Sans" panose="020B0606030504020204" pitchFamily="34" charset="0"/>
              </a:defRPr>
            </a:lvl1pPr>
          </a:lstStyle>
          <a:p>
            <a:fld id="{709BF325-786B-264A-A206-5FD721319B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958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212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09BF325-786B-264A-A206-5FD721319B8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666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0"/>
            <a:ext cx="12192000" cy="6298058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0716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19A1A4-D19B-4D2D-B3DF-1F116EDA41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432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19A1A4-D19B-4D2D-B3DF-1F116EDA4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2000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77441B03-04F8-4DDF-B9D2-629352F547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016002"/>
            <a:ext cx="11471999" cy="287996"/>
          </a:xfrm>
        </p:spPr>
        <p:txBody>
          <a:bodyPr lIns="0" tIns="36000" rIns="0" bIns="36000">
            <a:noAutofit/>
          </a:bodyPr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2E613D-9EB7-4801-9B40-E1C71CC860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83B134E-CFA7-3350-F645-C5FBE008E3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402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639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3"/>
            <a:ext cx="5364000" cy="4746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474629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FAF3277-A1D7-9B71-7786-6E834D2347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5055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020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11472737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11472736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8" y="1453704"/>
            <a:ext cx="11472737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11472736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E17E56-8D6E-92A8-34BC-206F018C90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78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+2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583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11472737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8" y="1453704"/>
            <a:ext cx="11472737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D365C26-3B5E-65D6-FD84-09ED2B851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7345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+1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362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8" y="3680003"/>
            <a:ext cx="11472737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8" y="4112003"/>
            <a:ext cx="11472737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E6E5424-BB73-434B-9AC0-F6477FFF89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8683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+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305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3"/>
            <a:ext cx="5364000" cy="47462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930F4B9-8C87-2B96-6178-CC2512702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8811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+1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77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3"/>
            <a:ext cx="5364000" cy="4746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5842909-2B67-4EB1-E9AB-F2A34BAF7B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754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+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1157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8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5364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68000" y="3680003"/>
            <a:ext cx="5364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058D90-5F1A-46AB-B944-AD4583F7CF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B1586B-D3B7-46F0-81FC-7D4CB999548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359259" y="1453704"/>
            <a:ext cx="5364000" cy="2088000"/>
          </a:xfrm>
        </p:spPr>
        <p:txBody>
          <a:bodyPr/>
          <a:lstStyle>
            <a:lvl1pPr marL="180000" indent="-180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F18AC6B-FDE7-4CBD-ADE0-7C8293E4B55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468000" y="1453704"/>
            <a:ext cx="5364000" cy="208800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8F149B63-6659-40A6-BC53-019A373EC5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59259" y="4112003"/>
            <a:ext cx="5364000" cy="208800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D16868A-FFB6-4B4A-93C9-FB95ECB41196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468000" y="4112003"/>
            <a:ext cx="5364000" cy="208800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E5702E2-1629-310B-76CF-A6FFA3179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295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92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2"/>
            <a:ext cx="3600000" cy="4752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12"/>
            <a:ext cx="3600000" cy="4752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10"/>
            <a:ext cx="3600000" cy="47520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4F835C-50BC-398A-E5E1-FF299C5C8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3485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 Asymmetr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69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96000" y="1016001"/>
            <a:ext cx="7535996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2"/>
            <a:ext cx="3600000" cy="4752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5999" y="1453702"/>
            <a:ext cx="7535995" cy="4752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B223040-CA48-E02C-7AF9-4A82838C43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578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7"/>
            <a:ext cx="11472001" cy="509032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7DBB952-6FD8-5089-2DD0-D7772B215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9367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+2 Vertical Asym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10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5999" y="1016001"/>
            <a:ext cx="7535996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7535996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3"/>
            <a:ext cx="3600000" cy="474629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7535996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7535996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EE3AD43-935C-7360-6E63-FF5033DD1D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525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 Asymmetr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763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7535999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8" y="1453712"/>
            <a:ext cx="7536741" cy="4752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10"/>
            <a:ext cx="3600000" cy="475200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297686C-6057-A81A-1C63-CC4E2455E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00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+1 Vertical Asymme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20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999" y="1016001"/>
            <a:ext cx="7535999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8" y="3680003"/>
            <a:ext cx="7536741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8" y="1453714"/>
            <a:ext cx="7536741" cy="208799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3"/>
            <a:ext cx="3600000" cy="474629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8" y="4112003"/>
            <a:ext cx="7536741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B51201-56C1-11FE-0CC0-9933154B86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924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+ 2+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92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9">
            <a:extLst>
              <a:ext uri="{FF2B5EF4-FFF2-40B4-BE49-F238E27FC236}">
                <a16:creationId xmlns:a16="http://schemas.microsoft.com/office/drawing/2014/main" id="{26AFA006-1F05-4FBB-AE77-1FB8EE25D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1996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3"/>
            <a:ext cx="3600000" cy="474629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06421D4-B2F9-4C35-93BA-608926A8D74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31996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4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E8DD789-F18B-D49E-0A22-E771AE00C6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38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+2 +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04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4"/>
            <a:ext cx="3600000" cy="208799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3"/>
            <a:ext cx="3600000" cy="474629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9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3E836AB-5EE8-58F3-553F-3904D135F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806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+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5AA219-A4DD-4FD4-AD9F-5C19ACB626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609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5AA219-A4DD-4FD4-AD9F-5C19ACB626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9FDFF3B7-E0F4-5F4E-B0BE-76D6D047A0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3CF3BCFF-4E6F-1D4A-AA1F-F698E02941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000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5">
            <a:extLst>
              <a:ext uri="{FF2B5EF4-FFF2-40B4-BE49-F238E27FC236}">
                <a16:creationId xmlns:a16="http://schemas.microsoft.com/office/drawing/2014/main" id="{F5B18523-20E6-43D3-8B29-643A436EEF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259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0" name="Text Placeholder 89">
            <a:extLst>
              <a:ext uri="{FF2B5EF4-FFF2-40B4-BE49-F238E27FC236}">
                <a16:creationId xmlns:a16="http://schemas.microsoft.com/office/drawing/2014/main" id="{F2E872A2-7B05-40C0-ABDC-056426DA0C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96000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168F88CF-AA9F-42AA-82EF-534747E8E5A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31996" y="1016001"/>
            <a:ext cx="3600000" cy="432000"/>
          </a:xfrm>
          <a:prstGeom prst="rect">
            <a:avLst/>
          </a:prstGeom>
          <a:noFill/>
        </p:spPr>
        <p:txBody>
          <a:bodyPr tIns="0" bIns="72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6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>
              <a:buNone/>
              <a:defRPr b="0"/>
            </a:lvl2pPr>
            <a:lvl3pPr marL="914354" indent="0">
              <a:buNone/>
              <a:defRPr b="0"/>
            </a:lvl3pPr>
            <a:lvl4pPr marL="1371532" indent="0">
              <a:buNone/>
              <a:defRPr b="0"/>
            </a:lvl4pPr>
            <a:lvl5pPr marL="1828709" indent="0">
              <a:buNone/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9">
            <a:extLst>
              <a:ext uri="{FF2B5EF4-FFF2-40B4-BE49-F238E27FC236}">
                <a16:creationId xmlns:a16="http://schemas.microsoft.com/office/drawing/2014/main" id="{26AFA006-1F05-4FBB-AE77-1FB8EE25D21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231996" y="3680003"/>
            <a:ext cx="3600000" cy="432000"/>
          </a:xfrm>
          <a:noFill/>
        </p:spPr>
        <p:txBody>
          <a:bodyPr vert="horz" lIns="0" tIns="0" rIns="0" bIns="72000" rtlCol="0" anchor="b">
            <a:noAutofit/>
          </a:bodyPr>
          <a:lstStyle>
            <a:lvl1pPr marL="0" indent="0">
              <a:buNone/>
              <a:defRPr lang="en-US" sz="1600" b="1" i="0" smtClean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>
              <a:defRPr lang="en-US" b="0" smtClean="0"/>
            </a:lvl2pPr>
            <a:lvl3pPr>
              <a:defRPr lang="en-US" b="0" smtClean="0"/>
            </a:lvl3pPr>
            <a:lvl4pPr>
              <a:defRPr lang="en-US" b="0" smtClean="0"/>
            </a:lvl4pPr>
            <a:lvl5pPr>
              <a:defRPr lang="en-US" b="0"/>
            </a:lvl5pPr>
          </a:lstStyle>
          <a:p>
            <a:pPr marL="180000" lvl="0" indent="-18000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FA005F-D8E2-4BAC-A245-EA3E51470026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7866240" y="6442144"/>
            <a:ext cx="3600000" cy="216000"/>
          </a:xfrm>
        </p:spPr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C120E0-CF79-4350-99B9-486C6DBB2B2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59259" y="1453714"/>
            <a:ext cx="3600000" cy="208799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B843DD5-C1B5-43EC-9C77-AC4F2C6EDD1E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296000" y="1453704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06421D4-B2F9-4C35-93BA-608926A8D74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8231996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337C2F1-FAB3-4D66-9E88-ACCF1ECA50E1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231996" y="1453704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D546021-DBF9-4C1C-8C6E-5EA5448388FB}"/>
              </a:ext>
            </a:extLst>
          </p:cNvPr>
          <p:cNvSpPr>
            <a:spLocks noGrp="1"/>
          </p:cNvSpPr>
          <p:nvPr>
            <p:ph sz="quarter" idx="32"/>
          </p:nvPr>
        </p:nvSpPr>
        <p:spPr>
          <a:xfrm>
            <a:off x="359259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F13EFFA3-7034-4048-A295-D5ADC8396621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4296000" y="4112003"/>
            <a:ext cx="3600000" cy="2088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0DFBEC4-B2B2-56F3-2BA6-67E572FBB7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15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" userDrawn="1">
          <p15:clr>
            <a:srgbClr val="FBAE40"/>
          </p15:clr>
        </p15:guide>
        <p15:guide id="6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itiative Pro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22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1EDCA6E-C5BE-4B08-BE3B-3C2A9A23B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375104-A8A1-43E5-B258-49F9E78256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9999" y="1707867"/>
            <a:ext cx="8192332" cy="900000"/>
          </a:xfrm>
          <a:prstGeom prst="rightArrowCallout">
            <a:avLst>
              <a:gd name="adj1" fmla="val 3231"/>
              <a:gd name="adj2" fmla="val 8733"/>
              <a:gd name="adj3" fmla="val 12316"/>
              <a:gd name="adj4" fmla="val 19522"/>
            </a:avLst>
          </a:prstGeom>
          <a:solidFill>
            <a:srgbClr val="D8D9DA"/>
          </a:solidFill>
          <a:ln>
            <a:solidFill>
              <a:srgbClr val="D8D9DA"/>
            </a:solidFill>
          </a:ln>
        </p:spPr>
        <p:txBody>
          <a:bodyPr lIns="35560" tIns="35560" rIns="35560" bIns="35560" anchor="ctr"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Major Initiative 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671F2D-073D-460A-9A5E-031C240A76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330" y="1689867"/>
            <a:ext cx="3279308" cy="936000"/>
          </a:xfrm>
          <a:solidFill>
            <a:srgbClr val="EFEFF0"/>
          </a:solidFill>
        </p:spPr>
        <p:txBody>
          <a:bodyPr lIns="35560" tIns="35560" rIns="35560" bIns="3556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None/>
              <a:defRPr sz="1100" b="0" u="none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1100"/>
            </a:lvl2pPr>
          </a:lstStyle>
          <a:p>
            <a:pPr lvl="0"/>
            <a:r>
              <a:rPr lang="en-US" dirty="0"/>
              <a:t>Roadmap detail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1E1F9A2-7DA3-469F-8625-3954899316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2882816"/>
            <a:ext cx="8192332" cy="936000"/>
          </a:xfrm>
          <a:prstGeom prst="rightArrowCallout">
            <a:avLst>
              <a:gd name="adj1" fmla="val 3231"/>
              <a:gd name="adj2" fmla="val 8733"/>
              <a:gd name="adj3" fmla="val 12316"/>
              <a:gd name="adj4" fmla="val 19522"/>
            </a:avLst>
          </a:prstGeom>
          <a:solidFill>
            <a:srgbClr val="D8D9DA"/>
          </a:solidFill>
          <a:ln>
            <a:solidFill>
              <a:srgbClr val="D8D9DA"/>
            </a:solidFill>
          </a:ln>
        </p:spPr>
        <p:txBody>
          <a:bodyPr lIns="35560" tIns="35560" rIns="35560" bIns="35560" anchor="ctr"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Major Initiative 2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128D84C-30F4-4AF4-9917-8321D59E30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52330" y="2882816"/>
            <a:ext cx="3279308" cy="936000"/>
          </a:xfrm>
          <a:solidFill>
            <a:srgbClr val="EFEFF0"/>
          </a:solidFill>
        </p:spPr>
        <p:txBody>
          <a:bodyPr lIns="35560" tIns="35560" rIns="35560" bIns="3556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None/>
              <a:defRPr sz="1100" b="0" u="none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1100"/>
            </a:lvl2pPr>
          </a:lstStyle>
          <a:p>
            <a:pPr lvl="0"/>
            <a:r>
              <a:rPr lang="en-US" dirty="0"/>
              <a:t>Roadmap detail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BF671490-779B-47DD-A4AF-3DABF9077E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8" y="4098454"/>
            <a:ext cx="8192332" cy="936000"/>
          </a:xfrm>
          <a:prstGeom prst="rightArrowCallout">
            <a:avLst>
              <a:gd name="adj1" fmla="val 3231"/>
              <a:gd name="adj2" fmla="val 8733"/>
              <a:gd name="adj3" fmla="val 12316"/>
              <a:gd name="adj4" fmla="val 19522"/>
            </a:avLst>
          </a:prstGeom>
          <a:solidFill>
            <a:srgbClr val="D8D9DA"/>
          </a:solidFill>
          <a:ln>
            <a:solidFill>
              <a:srgbClr val="D8D9DA"/>
            </a:solidFill>
          </a:ln>
        </p:spPr>
        <p:txBody>
          <a:bodyPr lIns="35560" tIns="35560" rIns="35560" bIns="35560" anchor="ctr"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Major Initiative 3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5E090E6-8630-4C16-BE76-57F05B9CB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52329" y="4098454"/>
            <a:ext cx="3279308" cy="936000"/>
          </a:xfrm>
          <a:solidFill>
            <a:srgbClr val="EFEFF0"/>
          </a:solidFill>
        </p:spPr>
        <p:txBody>
          <a:bodyPr lIns="35560" tIns="35560" rIns="35560" bIns="3556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None/>
              <a:defRPr sz="1100" b="0" u="none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1100"/>
            </a:lvl2pPr>
          </a:lstStyle>
          <a:p>
            <a:pPr lvl="0"/>
            <a:r>
              <a:rPr lang="en-US" dirty="0"/>
              <a:t>Roadmap detail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81FA5BD-8D0B-4CF1-B507-1F56773734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997" y="5300784"/>
            <a:ext cx="8192332" cy="936000"/>
          </a:xfrm>
          <a:prstGeom prst="rightArrowCallout">
            <a:avLst>
              <a:gd name="adj1" fmla="val 3231"/>
              <a:gd name="adj2" fmla="val 8733"/>
              <a:gd name="adj3" fmla="val 12316"/>
              <a:gd name="adj4" fmla="val 19522"/>
            </a:avLst>
          </a:prstGeom>
          <a:solidFill>
            <a:srgbClr val="D8D9DA"/>
          </a:solidFill>
          <a:ln>
            <a:solidFill>
              <a:srgbClr val="D8D9DA"/>
            </a:solidFill>
          </a:ln>
        </p:spPr>
        <p:txBody>
          <a:bodyPr lIns="35560" tIns="35560" rIns="35560" bIns="35560" anchor="ctr"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Major Initiative 4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BF75BFE-AF6D-4435-B4B4-D92348EC95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2328" y="5300784"/>
            <a:ext cx="3279308" cy="936000"/>
          </a:xfrm>
          <a:solidFill>
            <a:srgbClr val="EFEFF0"/>
          </a:solidFill>
        </p:spPr>
        <p:txBody>
          <a:bodyPr lIns="35560" tIns="35560" rIns="35560" bIns="3556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00"/>
              </a:spcAft>
              <a:buNone/>
              <a:defRPr sz="1100" b="0" u="none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1100"/>
            </a:lvl2pPr>
          </a:lstStyle>
          <a:p>
            <a:pPr lvl="0"/>
            <a:r>
              <a:rPr lang="en-US" dirty="0"/>
              <a:t>Roadmap detail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6A09AE0-8133-414F-9496-CBC3E4FD08EA}"/>
              </a:ext>
            </a:extLst>
          </p:cNvPr>
          <p:cNvCxnSpPr>
            <a:cxnSpLocks/>
          </p:cNvCxnSpPr>
          <p:nvPr userDrawn="1"/>
        </p:nvCxnSpPr>
        <p:spPr>
          <a:xfrm>
            <a:off x="359999" y="2742997"/>
            <a:ext cx="11471638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A5B320F-3E53-4E1D-AF11-010EFD90F410}"/>
              </a:ext>
            </a:extLst>
          </p:cNvPr>
          <p:cNvCxnSpPr>
            <a:cxnSpLocks/>
          </p:cNvCxnSpPr>
          <p:nvPr userDrawn="1"/>
        </p:nvCxnSpPr>
        <p:spPr>
          <a:xfrm>
            <a:off x="359999" y="3958635"/>
            <a:ext cx="11471638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4A298EE-A106-40E0-8B87-B0169D796340}"/>
              </a:ext>
            </a:extLst>
          </p:cNvPr>
          <p:cNvCxnSpPr>
            <a:cxnSpLocks/>
          </p:cNvCxnSpPr>
          <p:nvPr userDrawn="1"/>
        </p:nvCxnSpPr>
        <p:spPr>
          <a:xfrm>
            <a:off x="332006" y="5174273"/>
            <a:ext cx="11471638" cy="0"/>
          </a:xfrm>
          <a:prstGeom prst="line">
            <a:avLst/>
          </a:prstGeom>
          <a:ln w="9525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able Placeholder 24">
            <a:extLst>
              <a:ext uri="{FF2B5EF4-FFF2-40B4-BE49-F238E27FC236}">
                <a16:creationId xmlns:a16="http://schemas.microsoft.com/office/drawing/2014/main" id="{A35A42A7-050F-4636-A90D-DD603740C2EC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1979613" y="1071563"/>
            <a:ext cx="6572250" cy="455612"/>
          </a:xfrm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Timeline tab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15532FD-95AE-8AC0-8F28-98D6A61B5A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335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4D0F40-F046-4DCF-B693-B3D14D913C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346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4D0F40-F046-4DCF-B693-B3D14D913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013156"/>
            <a:ext cx="7020000" cy="1480661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Small media with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7020000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2788371"/>
            <a:ext cx="7020000" cy="3411628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ex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6FACDBBC-0A4A-4041-80D8-D520767C59E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40128" y="258095"/>
            <a:ext cx="3791865" cy="5941905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478735-CB1D-4196-B38F-43E4DA2D169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F0ABC95-5B40-3DC7-16E0-DAB76DFBCD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068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380695-3183-4C5A-94C1-411A038327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9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380695-3183-4C5A-94C1-411A03832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1013156"/>
            <a:ext cx="5040000" cy="1480661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Medium media with tex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8" y="2788371"/>
            <a:ext cx="5040000" cy="3411621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ex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6FACDBBC-0A4A-4041-80D8-D520767C59E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9761" y="258095"/>
            <a:ext cx="5742232" cy="5941899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B38B07C8-E6DA-41A0-8478-411BD66915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258096"/>
            <a:ext cx="5040000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52DA0B-84E8-48F3-ADC7-1DF4534BAF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AC28DFF-1E06-8D97-3698-F14FF554E8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3592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C380695-3183-4C5A-94C1-411A038327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9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C380695-3183-4C5A-94C1-411A038327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7" y="1013157"/>
            <a:ext cx="11471975" cy="727122"/>
          </a:xfrm>
        </p:spPr>
        <p:txBody>
          <a:bodyPr vert="horz" lIns="0" rIns="0" anchor="t">
            <a:noAutofit/>
          </a:bodyPr>
          <a:lstStyle>
            <a:lvl1pPr>
              <a:defRPr sz="5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Large media with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7" y="1891404"/>
            <a:ext cx="11471971" cy="4308589"/>
          </a:xfrm>
        </p:spPr>
        <p:txBody>
          <a:bodyPr l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tx1"/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457200" indent="0">
              <a:buNone/>
              <a:defRPr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Conten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B38B07C8-E6DA-41A0-8478-411BD66915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9" y="258096"/>
            <a:ext cx="11471983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6EA72-B4DF-45E2-9E13-33ABCB5FEF7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14747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7"/>
            <a:ext cx="11472001" cy="509032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4629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B281073-77D8-4672-A964-87D29A16BF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4092720" cy="379386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E046898C-AA45-4CC2-B538-1F7C775C28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36722" y="0"/>
            <a:ext cx="2885439" cy="243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5485C4B-0241-4528-B909-076448E863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66161" y="0"/>
            <a:ext cx="4925839" cy="30348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FFA8D79-EBD9-4243-9DDD-1F911FE8AB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36722" y="2554322"/>
            <a:ext cx="2885439" cy="36456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5EA27642-E0C3-4D96-9A37-6103E5580C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" y="3910983"/>
            <a:ext cx="4092718" cy="228902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1472D1B-98D6-49B1-BCDB-49992B549A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66161" y="3151922"/>
            <a:ext cx="4925839" cy="304807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DECB48A-06F7-45ED-A531-C4F9B1687E80}"/>
              </a:ext>
            </a:extLst>
          </p:cNvPr>
          <p:cNvSpPr>
            <a:spLocks noGrp="1"/>
          </p:cNvSpPr>
          <p:nvPr userDrawn="1">
            <p:ph type="ftr" sz="quarter" idx="19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3481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1492862-7AFB-B24E-B8FA-D6B633F2D0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2865271"/>
            <a:ext cx="4567424" cy="39927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5000" b="0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 marL="9144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 marL="13716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 marL="18288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7E07ECC-743D-4E51-8046-04F68CB57CC6}"/>
              </a:ext>
            </a:extLst>
          </p:cNvPr>
          <p:cNvGrpSpPr/>
          <p:nvPr userDrawn="1"/>
        </p:nvGrpSpPr>
        <p:grpSpPr>
          <a:xfrm>
            <a:off x="501867" y="315378"/>
            <a:ext cx="11318038" cy="658599"/>
            <a:chOff x="501867" y="315378"/>
            <a:chExt cx="11318038" cy="658599"/>
          </a:xfrm>
        </p:grpSpPr>
        <p:pic>
          <p:nvPicPr>
            <p:cNvPr id="11" name="Picture 10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9A3381FE-5D9D-4AE7-9EDB-C0E5EF964F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867" y="315378"/>
              <a:ext cx="2759494" cy="574894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571809F-8B99-4409-A70F-705D342C4961}"/>
                </a:ext>
              </a:extLst>
            </p:cNvPr>
            <p:cNvSpPr/>
            <p:nvPr/>
          </p:nvSpPr>
          <p:spPr>
            <a:xfrm>
              <a:off x="4314901" y="681589"/>
              <a:ext cx="7505004" cy="29238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/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ENABLING DISCOVERY  </a:t>
              </a:r>
              <a:r>
                <a:rPr lang="en-US" sz="1300" b="0" i="0" u="none" strike="noStrike" spc="100" baseline="0" dirty="0">
                  <a:solidFill>
                    <a:schemeClr val="accent3">
                      <a:lumMod val="75000"/>
                    </a:schemeClr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POWERING EDUCATION  </a:t>
              </a:r>
              <a:r>
                <a:rPr lang="en-US" sz="1300" b="0" i="0" u="none" strike="noStrike" spc="100" baseline="0" dirty="0">
                  <a:solidFill>
                    <a:schemeClr val="accent3">
                      <a:lumMod val="75000"/>
                    </a:schemeClr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SHAPING WORKFORCES</a:t>
              </a:r>
              <a:endParaRPr lang="en-US" sz="1300" b="0" i="0" spc="100" baseline="0" dirty="0">
                <a:solidFill>
                  <a:schemeClr val="tx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3865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3A029-31AB-966A-F5B2-AE7288D8F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icon&#10;&#10;Description automatically generated">
            <a:extLst>
              <a:ext uri="{FF2B5EF4-FFF2-40B4-BE49-F238E27FC236}">
                <a16:creationId xmlns:a16="http://schemas.microsoft.com/office/drawing/2014/main" id="{9A3381FE-5D9D-4AE7-9EDB-C0E5EF964F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67" y="315378"/>
            <a:ext cx="2759494" cy="574894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1D4477-F647-C678-2DCA-39A0CEB744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8518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0" y="0"/>
            <a:ext cx="5249458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45DBD4EA-CC6F-47ED-A2F3-D395B978432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746" y="1828792"/>
            <a:ext cx="4228861" cy="3200385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 algn="l">
              <a:buNone/>
              <a:defRPr sz="1800" b="1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Click picture icon to add picture.</a:t>
            </a:r>
            <a:br>
              <a:rPr lang="en-US" dirty="0"/>
            </a:br>
            <a:r>
              <a:rPr lang="en-US" dirty="0"/>
              <a:t>Use Bright Blue as your icon fill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333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1988B633-B41D-7B48-9BE5-91AEDE245D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23993" y="5715012"/>
            <a:ext cx="6107996" cy="508665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i="0">
                <a:solidFill>
                  <a:srgbClr val="50505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44937A7-BD88-004A-80D8-44E6C0C6BE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23993" y="414673"/>
            <a:ext cx="6108007" cy="3784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b="1" i="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Meeting / Presentation Title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0F22B1DD-D4E7-2741-9317-DDCD5C9DC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23994" y="1011563"/>
            <a:ext cx="6108006" cy="1607449"/>
          </a:xfrm>
        </p:spPr>
        <p:txBody>
          <a:bodyPr vert="horz">
            <a:noAutofit/>
          </a:bodyPr>
          <a:lstStyle>
            <a:lvl1pPr>
              <a:defRPr sz="4000">
                <a:solidFill>
                  <a:srgbClr val="123D80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4745D8-01FC-EB4C-99C3-6FCED613DF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723999" y="2619013"/>
            <a:ext cx="6107995" cy="8425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0" i="0"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287338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B52A2C-21E4-E94B-AF1C-FD12322843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23999" y="3680001"/>
            <a:ext cx="6107989" cy="18165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800" b="1" i="0"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171450" indent="-165100">
              <a:buFont typeface="Wingdings" pitchFamily="2" charset="2"/>
              <a:buChar char="§"/>
              <a:tabLst/>
              <a:defRPr sz="1600"/>
            </a:lvl2pPr>
            <a:lvl3pPr marL="358775" indent="-179388">
              <a:defRPr sz="1600"/>
            </a:lvl3pPr>
          </a:lstStyle>
          <a:p>
            <a:pPr lvl="0"/>
            <a:r>
              <a:rPr lang="en-US" dirty="0"/>
              <a:t>Discussion Topic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36CCE6C-2ACE-487F-95B1-13B6EC76FF51}"/>
              </a:ext>
            </a:extLst>
          </p:cNvPr>
          <p:cNvCxnSpPr>
            <a:cxnSpLocks/>
          </p:cNvCxnSpPr>
          <p:nvPr/>
        </p:nvCxnSpPr>
        <p:spPr>
          <a:xfrm>
            <a:off x="5723993" y="5676912"/>
            <a:ext cx="6107995" cy="0"/>
          </a:xfrm>
          <a:prstGeom prst="line">
            <a:avLst/>
          </a:prstGeom>
          <a:ln>
            <a:solidFill>
              <a:srgbClr val="123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913233-D3F8-4DE9-804B-32DA4F249CA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7866240" y="6442144"/>
            <a:ext cx="3965748" cy="216000"/>
          </a:xfrm>
        </p:spPr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610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C210F7BF-7629-4EF8-AA0E-29CE496EC0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9998" y="2130429"/>
            <a:ext cx="11471987" cy="406957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buNone/>
              <a:defRPr sz="2200" baseline="0">
                <a:solidFill>
                  <a:srgbClr val="123D80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0" indent="0">
              <a:spcBef>
                <a:spcPts val="1800"/>
              </a:spcBef>
              <a:buFont typeface="Wingdings" panose="05000000000000000000" pitchFamily="2" charset="2"/>
              <a:buNone/>
              <a:defRPr sz="2000" b="1"/>
            </a:lvl2pPr>
            <a:lvl3pPr marL="179388" indent="-179388">
              <a:spcBef>
                <a:spcPts val="600"/>
              </a:spcBef>
              <a:buFont typeface="Wingdings" panose="05000000000000000000" pitchFamily="2" charset="2"/>
              <a:buChar char="§"/>
              <a:defRPr sz="1600"/>
            </a:lvl3pPr>
          </a:lstStyle>
          <a:p>
            <a:pPr lvl="0"/>
            <a:r>
              <a:rPr lang="en-US" dirty="0"/>
              <a:t>Current Agenda Item (use “increase list level” once to indicate non-current items, twice for list of sub-items)</a:t>
            </a:r>
          </a:p>
          <a:p>
            <a:pPr lvl="1"/>
            <a:r>
              <a:rPr lang="en-US" dirty="0"/>
              <a:t>Non-current Agenda Item (List level 2)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r>
              <a:rPr lang="en-US" dirty="0"/>
              <a:t>Sub-Agenda Items (Level 3 tab)	</a:t>
            </a:r>
          </a:p>
          <a:p>
            <a:pPr lvl="2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B81272-3590-495B-9369-88368E1545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243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B81272-3590-495B-9369-88368E154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1872334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 dirty="0">
              <a:latin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32161"/>
            <a:ext cx="11471987" cy="920702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4" cy="39990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Meeting / Meeting Dat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DDC7DC-DF32-4453-A594-D1AA1A267CA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735488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Discussio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82DD2D-22DB-43D3-8343-E8DE3043103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61741" y="2130425"/>
            <a:ext cx="5370222" cy="1474177"/>
          </a:xfrm>
          <a:ln>
            <a:solidFill>
              <a:srgbClr val="000000"/>
            </a:solidFill>
          </a:ln>
        </p:spPr>
        <p:txBody>
          <a:bodyPr lIns="72000" tIns="504000" rIns="72000" bIns="72000">
            <a:spAutoFit/>
          </a:bodyPr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en-US" dirty="0"/>
              <a:t>Topic 1</a:t>
            </a:r>
          </a:p>
          <a:p>
            <a:pPr lvl="0"/>
            <a:r>
              <a:rPr lang="en-US" dirty="0"/>
              <a:t>Topic 2</a:t>
            </a:r>
          </a:p>
          <a:p>
            <a:pPr lvl="1"/>
            <a:r>
              <a:rPr lang="en-US" dirty="0"/>
              <a:t>Sub-topic 2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C210F7BF-7629-4EF8-AA0E-29CE496EC04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9999" y="2130429"/>
            <a:ext cx="5736000" cy="4069570"/>
          </a:xfrm>
        </p:spPr>
        <p:txBody>
          <a:bodyPr>
            <a:noAutofit/>
          </a:bodyPr>
          <a:lstStyle>
            <a:lvl1pPr marL="0" indent="0">
              <a:spcBef>
                <a:spcPts val="1800"/>
              </a:spcBef>
              <a:buNone/>
              <a:defRPr sz="2000" baseline="0">
                <a:solidFill>
                  <a:srgbClr val="123D80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defRPr>
            </a:lvl1pPr>
            <a:lvl2pPr marL="0" indent="0">
              <a:spcBef>
                <a:spcPts val="1800"/>
              </a:spcBef>
              <a:buFont typeface="Wingdings" panose="05000000000000000000" pitchFamily="2" charset="2"/>
              <a:buNone/>
              <a:defRPr sz="1800" b="1"/>
            </a:lvl2pPr>
            <a:lvl3pPr marL="179388" indent="-179388">
              <a:spcBef>
                <a:spcPts val="600"/>
              </a:spcBef>
              <a:buFont typeface="Wingdings" panose="05000000000000000000" pitchFamily="2" charset="2"/>
              <a:buChar char="§"/>
              <a:defRPr sz="1800"/>
            </a:lvl3pPr>
          </a:lstStyle>
          <a:p>
            <a:pPr lvl="0"/>
            <a:r>
              <a:rPr lang="en-US" dirty="0"/>
              <a:t>Current Item (use “increase list level” once to indicate non-current items; twice for list of sub-items)</a:t>
            </a:r>
          </a:p>
          <a:p>
            <a:pPr lvl="1"/>
            <a:r>
              <a:rPr lang="en-US" dirty="0"/>
              <a:t>Non-current Agenda Item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r>
              <a:rPr lang="en-US" dirty="0"/>
              <a:t>Sub-Agenda Items (level 3 tab)</a:t>
            </a:r>
          </a:p>
          <a:p>
            <a:pPr lvl="2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B81272-3590-495B-9369-88368E1545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80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B81272-3590-495B-9369-88368E154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1872334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b="0" i="0" dirty="0">
              <a:latin typeface="Open Sans" panose="020B06060305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32161"/>
            <a:ext cx="11471987" cy="920702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4" cy="399900"/>
          </a:xfrm>
        </p:spPr>
        <p:txBody>
          <a:bodyPr l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Meeting / Meeting Dat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2180C5-B2BD-43EC-8A91-C1F8215BB59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67999" y="2130430"/>
            <a:ext cx="5370513" cy="366712"/>
          </a:xfrm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vert="horz" lIns="72000" tIns="72000" rIns="72000" bIns="72000" rtlCol="0">
            <a:noAutofit/>
          </a:bodyPr>
          <a:lstStyle>
            <a:lvl1pPr marL="0" indent="0">
              <a:buNone/>
              <a:defRPr lang="en-US" sz="1800" b="0" i="0" dirty="0"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360000" indent="0">
              <a:buFontTx/>
              <a:buNone/>
              <a:defRPr/>
            </a:lvl2pPr>
          </a:lstStyle>
          <a:p>
            <a:pPr marL="180000" lvl="0" indent="-180000">
              <a:spcBef>
                <a:spcPts val="1800"/>
              </a:spcBef>
              <a:spcAft>
                <a:spcPts val="600"/>
              </a:spcAft>
            </a:pPr>
            <a:r>
              <a:rPr lang="en-US" dirty="0"/>
              <a:t>Discussion Topics for this sectio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5E15346-CEF8-4DB8-8368-9047CFD0FB1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2296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A5BD10-06D8-499E-B2FA-42F9AC7C60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998" y="3215404"/>
            <a:ext cx="11471986" cy="2984599"/>
          </a:xfrm>
        </p:spPr>
        <p:txBody>
          <a:bodyPr>
            <a:noAutofit/>
          </a:bodyPr>
          <a:lstStyle>
            <a:lvl1pPr marL="0" indent="0">
              <a:spcBef>
                <a:spcPts val="1200"/>
              </a:spcBef>
              <a:buNone/>
              <a:defRPr sz="2400" b="1">
                <a:solidFill>
                  <a:srgbClr val="123D80"/>
                </a:solidFill>
                <a:latin typeface="Source Serif Pro" panose="02040603050405020204" pitchFamily="18" charset="0"/>
              </a:defRPr>
            </a:lvl1pPr>
            <a:lvl2pPr marL="0" indent="0">
              <a:spcBef>
                <a:spcPts val="1200"/>
              </a:spcBef>
              <a:buSzPct val="80000"/>
              <a:buFont typeface="Wingdings" panose="05000000000000000000" pitchFamily="2" charset="2"/>
              <a:buNone/>
              <a:defRPr sz="2400" b="1">
                <a:latin typeface="Source Serif Pro" panose="02040603050405020204" pitchFamily="18" charset="0"/>
              </a:defRPr>
            </a:lvl2pPr>
            <a:lvl3pPr marL="266700" indent="-266700">
              <a:buSzPct val="80000"/>
              <a:buFont typeface="Wingdings" panose="05000000000000000000" pitchFamily="2" charset="2"/>
              <a:buChar char="§"/>
              <a:defRPr sz="2400">
                <a:latin typeface="Source Serif Pro" panose="02040603050405020204" pitchFamily="18" charset="0"/>
              </a:defRPr>
            </a:lvl3pPr>
            <a:lvl4pPr>
              <a:defRPr sz="2800">
                <a:latin typeface="Source Serif Pro" panose="02040603050405020204" pitchFamily="18" charset="0"/>
              </a:defRPr>
            </a:lvl4pPr>
            <a:lvl5pPr>
              <a:defRPr sz="2800">
                <a:latin typeface="Source Serif Pro" panose="02040603050405020204" pitchFamily="18" charset="0"/>
              </a:defRPr>
            </a:lvl5pPr>
          </a:lstStyle>
          <a:p>
            <a:pPr lvl="0"/>
            <a:r>
              <a:rPr lang="en-US" dirty="0"/>
              <a:t>Current Agenda Item (use “increase list level” once to indicate non-current items; twice for list of sub-items)</a:t>
            </a:r>
          </a:p>
          <a:p>
            <a:pPr lvl="1"/>
            <a:r>
              <a:rPr lang="en-US" dirty="0"/>
              <a:t>Non-Current Agenda Item (level 2 tab)</a:t>
            </a:r>
          </a:p>
          <a:p>
            <a:pPr lvl="2"/>
            <a:r>
              <a:rPr lang="en-US" dirty="0"/>
              <a:t>Sub Agenda Items (level 3 tab)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B3DC24-C1D2-4C70-BC4B-3DA72A480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827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B3DC24-C1D2-4C70-BC4B-3DA72A480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3008671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1002894"/>
            <a:ext cx="11471998" cy="1800000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  <a:latin typeface="+mj-lt"/>
              </a:defRPr>
            </a:lvl1pPr>
          </a:lstStyle>
          <a:p>
            <a:r>
              <a:rPr lang="en-US" dirty="0"/>
              <a:t>Section Title / Divi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5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93D9BD-9E71-44D8-8EBB-A48D8978B2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44913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ith 3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2796F2-60BF-421A-B96D-17CBD23313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43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2796F2-60BF-421A-B96D-17CBD2331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48C559-16A5-3A48-B94F-9B0FA08C8FC5}"/>
              </a:ext>
            </a:extLst>
          </p:cNvPr>
          <p:cNvSpPr/>
          <p:nvPr/>
        </p:nvSpPr>
        <p:spPr>
          <a:xfrm>
            <a:off x="0" y="0"/>
            <a:ext cx="12192000" cy="3008671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1002894"/>
            <a:ext cx="11471991" cy="1800000"/>
          </a:xfrm>
        </p:spPr>
        <p:txBody>
          <a:bodyPr vert="horz" lIns="0" rIns="0">
            <a:noAutofit/>
          </a:bodyPr>
          <a:lstStyle>
            <a:lvl1pPr>
              <a:defRPr sz="5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ection Title / Divi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657719-BC77-8248-98D3-ACF8506727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258096"/>
            <a:ext cx="11471999" cy="590550"/>
          </a:xfrm>
        </p:spPr>
        <p:txBody>
          <a:bodyPr lIns="0">
            <a:noAutofit/>
          </a:bodyPr>
          <a:lstStyle>
            <a:lvl1pPr marL="0" indent="0">
              <a:buNone/>
              <a:defRPr sz="1800" b="1" i="0">
                <a:solidFill>
                  <a:schemeClr val="bg1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6CC5895-DC20-AA46-9ABD-189E940C1A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9998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Tex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0897AA8-A50C-4A42-9DB1-1F4071AB34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000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Tex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80D35EBD-329A-9141-ADD2-C688AE3587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19998" y="3370260"/>
            <a:ext cx="3312000" cy="2829737"/>
          </a:xfrm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r>
              <a:rPr lang="en-US" dirty="0"/>
              <a:t>Text</a:t>
            </a:r>
            <a:endParaRPr lang="en-US" b="0" i="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272FD8-3E2B-4E94-A3AD-D894E8B36B6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978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1" y="0"/>
            <a:ext cx="5688000" cy="6858000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15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66" name="Title 1">
            <a:extLst>
              <a:ext uri="{FF2B5EF4-FFF2-40B4-BE49-F238E27FC236}">
                <a16:creationId xmlns:a16="http://schemas.microsoft.com/office/drawing/2014/main" id="{0DAE4114-C2E5-421E-9C58-2626F826E8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266" y="1448003"/>
            <a:ext cx="4425597" cy="2231996"/>
          </a:xfrm>
        </p:spPr>
        <p:txBody>
          <a:bodyPr vert="horz" anchor="b">
            <a:noAutofit/>
          </a:bodyPr>
          <a:lstStyle>
            <a:lvl1pPr algn="ctr">
              <a:defRPr sz="4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ection Divider Title</a:t>
            </a:r>
          </a:p>
        </p:txBody>
      </p:sp>
      <p:sp>
        <p:nvSpPr>
          <p:cNvPr id="67" name="Subtitle 2">
            <a:extLst>
              <a:ext uri="{FF2B5EF4-FFF2-40B4-BE49-F238E27FC236}">
                <a16:creationId xmlns:a16="http://schemas.microsoft.com/office/drawing/2014/main" id="{12C1BFB6-536F-49DC-8CBE-4007DB50F9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9266" y="4112002"/>
            <a:ext cx="4425597" cy="15736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ction divider subtitl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7F94385B-D6AB-4A52-841E-59DC6D14AB4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84132" y="-1"/>
            <a:ext cx="6507868" cy="6857999"/>
          </a:xfrm>
        </p:spPr>
        <p:txBody>
          <a:bodyPr lIns="72390" tIns="72390" rIns="72390" bIns="72390"/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r>
              <a:rPr lang="en-US" dirty="0"/>
              <a:t>Click picture icon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17358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D77D3A3-D159-AD48-BD20-48ACE3CE90AA}"/>
              </a:ext>
            </a:extLst>
          </p:cNvPr>
          <p:cNvSpPr/>
          <p:nvPr/>
        </p:nvSpPr>
        <p:spPr>
          <a:xfrm>
            <a:off x="-12548" y="-2"/>
            <a:ext cx="5688000" cy="6858000"/>
          </a:xfrm>
          <a:prstGeom prst="rect">
            <a:avLst/>
          </a:prstGeom>
          <a:gradFill>
            <a:gsLst>
              <a:gs pos="0">
                <a:schemeClr val="accent3">
                  <a:lumMod val="40000"/>
                  <a:lumOff val="60000"/>
                </a:schemeClr>
              </a:gs>
              <a:gs pos="22000">
                <a:schemeClr val="accent3">
                  <a:lumMod val="95000"/>
                  <a:lumOff val="5000"/>
                </a:schemeClr>
              </a:gs>
              <a:gs pos="98000">
                <a:schemeClr val="accent3">
                  <a:lumMod val="60000"/>
                </a:schemeClr>
              </a:gs>
            </a:gsLst>
            <a:path path="circle">
              <a:fillToRect t="100000" r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C72124-3F16-4004-9FB9-91677CD4E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4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C72124-3F16-4004-9FB9-91677CD4E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B1B86DA4-DC93-1340-8A8F-876DA915AA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60" y="402109"/>
            <a:ext cx="2312692" cy="481811"/>
          </a:xfrm>
          <a:prstGeom prst="rect">
            <a:avLst/>
          </a:prstGeom>
        </p:spPr>
      </p:pic>
      <p:sp>
        <p:nvSpPr>
          <p:cNvPr id="66" name="Title 1">
            <a:extLst>
              <a:ext uri="{FF2B5EF4-FFF2-40B4-BE49-F238E27FC236}">
                <a16:creationId xmlns:a16="http://schemas.microsoft.com/office/drawing/2014/main" id="{0DAE4114-C2E5-421E-9C58-2626F826E8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9266" y="1448003"/>
            <a:ext cx="4425597" cy="1573617"/>
          </a:xfrm>
        </p:spPr>
        <p:txBody>
          <a:bodyPr vert="horz" anchor="b">
            <a:noAutofit/>
          </a:bodyPr>
          <a:lstStyle>
            <a:lvl1pPr algn="ctr">
              <a:defRPr sz="8000"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Q&amp;A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0B4E6ADF-B7B2-42CB-8EDA-9622D7F6E8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684132" y="-1"/>
            <a:ext cx="6507868" cy="6857999"/>
          </a:xfrm>
        </p:spPr>
        <p:txBody>
          <a:bodyPr lIns="72390" tIns="72390" rIns="72390" bIns="72390"/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r>
              <a:rPr lang="en-US" dirty="0"/>
              <a:t>Click picture icon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414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4359146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7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23190C1-BBF5-549C-F545-38DFD2CC940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59997" y="2751918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DE6F3A-9F70-15C5-68EE-F3BD85CA3B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59998" y="4394160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8120C5-69BA-EAB9-F592-7DD9ECEB3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726620" y="0"/>
            <a:ext cx="5465379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8DC894-0CD7-D6C3-41A8-387C1AAFA1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435914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141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45AFEF0B-C13F-4C7C-A7DF-E02F63DF1EB0}"/>
              </a:ext>
            </a:extLst>
          </p:cNvPr>
          <p:cNvSpPr/>
          <p:nvPr userDrawn="1"/>
        </p:nvSpPr>
        <p:spPr>
          <a:xfrm>
            <a:off x="0" y="0"/>
            <a:ext cx="12192000" cy="6284422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AA53F2-651B-4E47-8BE4-F2B6A620EF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14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AA53F2-651B-4E47-8BE4-F2B6A620E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1999"/>
            <a:ext cx="11471993" cy="864000"/>
          </a:xfrm>
        </p:spPr>
        <p:txBody>
          <a:bodyPr vert="horz" lIns="0" rIns="0"/>
          <a:lstStyle>
            <a:lvl1pPr>
              <a:defRPr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Speaker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38CD07-7349-4340-9AC4-ECA4E8DAF590}"/>
              </a:ext>
            </a:extLst>
          </p:cNvPr>
          <p:cNvCxnSpPr/>
          <p:nvPr userDrawn="1"/>
        </p:nvCxnSpPr>
        <p:spPr>
          <a:xfrm>
            <a:off x="0" y="9360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A611768-7DDF-1E41-A398-7A115CACCAA1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710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insert imag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964D8A-993B-5345-93FA-FC645C2ED7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86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insert imag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7C060F05-A8BB-3446-AC46-3F4D32936B23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534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insert imag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5A2C8D-D070-CF4F-9C14-CDCC694823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32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27A27EB-2B1B-D24A-9C94-695CE058F2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Affiliation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3F42F1B-1789-8D4F-897E-7DF099E779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2852E82-C295-BE4B-B9C4-B231BDF61F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Affiliation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C918BD10-098E-D448-AD2F-96BC609BBC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56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FE427864-088B-0D45-B702-2E649E3857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56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Affiliation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995040-6B49-426E-8C08-9F778C5E52B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7477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enter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8513A6E-4536-4379-9CB9-5F2CF690E7D4}"/>
              </a:ext>
            </a:extLst>
          </p:cNvPr>
          <p:cNvSpPr/>
          <p:nvPr userDrawn="1"/>
        </p:nvSpPr>
        <p:spPr>
          <a:xfrm>
            <a:off x="0" y="0"/>
            <a:ext cx="12192000" cy="6284422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AA53F2-651B-4E47-8BE4-F2B6A620EF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185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AA53F2-651B-4E47-8BE4-F2B6A620E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9" y="71999"/>
            <a:ext cx="11471993" cy="864000"/>
          </a:xfrm>
        </p:spPr>
        <p:txBody>
          <a:bodyPr vert="horz" lIns="0" rIns="0"/>
          <a:lstStyle>
            <a:lvl1pPr>
              <a:defRPr>
                <a:solidFill>
                  <a:srgbClr val="18B7FB"/>
                </a:solidFill>
              </a:defRPr>
            </a:lvl1pPr>
          </a:lstStyle>
          <a:p>
            <a:r>
              <a:rPr lang="en-US" dirty="0"/>
              <a:t>Present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38CD07-7349-4340-9AC4-ECA4E8DAF590}"/>
              </a:ext>
            </a:extLst>
          </p:cNvPr>
          <p:cNvCxnSpPr/>
          <p:nvPr/>
        </p:nvCxnSpPr>
        <p:spPr>
          <a:xfrm>
            <a:off x="0" y="936000"/>
            <a:ext cx="12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964D8A-993B-5345-93FA-FC645C2ED7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86000" y="1518997"/>
            <a:ext cx="2772000" cy="2772000"/>
          </a:xfrm>
          <a:prstGeom prst="ellipse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insert imag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23F42F1B-1789-8D4F-897E-7DF099E779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000" y="4423997"/>
            <a:ext cx="3528000" cy="432000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2852E82-C295-BE4B-B9C4-B231BDF61FE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000" y="4904050"/>
            <a:ext cx="3528000" cy="720000"/>
          </a:xfrm>
        </p:spPr>
        <p:txBody>
          <a:bodyPr anchor="t">
            <a:noAutofit/>
          </a:bodyPr>
          <a:lstStyle>
            <a:lvl1pPr marL="0" indent="0" algn="ctr">
              <a:spcAft>
                <a:spcPts val="0"/>
              </a:spcAft>
              <a:buNone/>
              <a:defRPr sz="18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Affili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067091-6075-4EAE-9210-47B754F619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21263" y="1540993"/>
            <a:ext cx="6810728" cy="4083058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271463" indent="-271463"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 Biography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AE9CF1-90DD-460F-B867-8D4798DB84F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30479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7D5B23F-83AB-4E2D-AD54-64F8B15EFB8B}"/>
              </a:ext>
            </a:extLst>
          </p:cNvPr>
          <p:cNvSpPr/>
          <p:nvPr/>
        </p:nvSpPr>
        <p:spPr>
          <a:xfrm>
            <a:off x="0" y="1140542"/>
            <a:ext cx="12192000" cy="5717458"/>
          </a:xfrm>
          <a:prstGeom prst="rect">
            <a:avLst/>
          </a:prstGeom>
          <a:solidFill>
            <a:srgbClr val="123D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355B9AB3-CD3D-4629-ACA4-94AB0EEF3E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140542"/>
            <a:ext cx="12192000" cy="322856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F83FB30E-81B4-49D9-A867-93924EE1BA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369110"/>
            <a:ext cx="12192000" cy="101677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FontTx/>
              <a:buNone/>
              <a:defRPr sz="5500" b="0" i="0">
                <a:solidFill>
                  <a:srgbClr val="18B7FB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2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2pPr>
            <a:lvl3pPr marL="9144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3pPr>
            <a:lvl4pPr marL="13716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4pPr>
            <a:lvl5pPr marL="1828800" indent="0">
              <a:buFontTx/>
              <a:buNone/>
              <a:defRPr sz="5000" b="0" i="0">
                <a:solidFill>
                  <a:schemeClr val="bg1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defRPr>
            </a:lvl5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F029B63F-EEA5-45DE-8EE2-D1FE348E1A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94830" y="5385882"/>
            <a:ext cx="6002337" cy="9763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3000" b="0" i="0">
                <a:solidFill>
                  <a:schemeClr val="bg1"/>
                </a:solidFill>
                <a:latin typeface="Source Serif Pro Light" panose="02040303050405020204" pitchFamily="18" charset="0"/>
                <a:ea typeface="Source Serif Pro Light" panose="02040303050405020204" pitchFamily="18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FE082C-192A-465C-9908-3BCF7A1FFB18}"/>
              </a:ext>
            </a:extLst>
          </p:cNvPr>
          <p:cNvGrpSpPr/>
          <p:nvPr userDrawn="1"/>
        </p:nvGrpSpPr>
        <p:grpSpPr>
          <a:xfrm>
            <a:off x="501867" y="315378"/>
            <a:ext cx="11318038" cy="658599"/>
            <a:chOff x="501867" y="315378"/>
            <a:chExt cx="11318038" cy="658599"/>
          </a:xfrm>
        </p:grpSpPr>
        <p:pic>
          <p:nvPicPr>
            <p:cNvPr id="13" name="Picture 12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00B3EEBE-2B41-420D-958B-6F0B0ADCC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867" y="315378"/>
              <a:ext cx="2759494" cy="574894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3C81DDC-BFF8-49EB-B4E5-583B63F05064}"/>
                </a:ext>
              </a:extLst>
            </p:cNvPr>
            <p:cNvSpPr/>
            <p:nvPr/>
          </p:nvSpPr>
          <p:spPr>
            <a:xfrm>
              <a:off x="4314901" y="681589"/>
              <a:ext cx="7505004" cy="29238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/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ENABLING DISCOVERY  </a:t>
              </a:r>
              <a:r>
                <a:rPr lang="en-US" sz="1300" b="0" i="0" u="none" strike="noStrike" spc="100" baseline="0" dirty="0">
                  <a:solidFill>
                    <a:srgbClr val="198C53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POWERING EDUCATION  </a:t>
              </a:r>
              <a:r>
                <a:rPr lang="en-US" sz="1300" b="0" i="0" u="none" strike="noStrike" spc="100" baseline="0" dirty="0">
                  <a:solidFill>
                    <a:srgbClr val="18C76F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SHAPING WORKFORCES</a:t>
              </a:r>
              <a:endParaRPr lang="en-US" sz="1300" b="0" i="0" spc="100" baseline="0" dirty="0">
                <a:solidFill>
                  <a:schemeClr val="tx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9412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B281073-77D8-4672-A964-87D29A16BF9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259840"/>
            <a:ext cx="4092720" cy="379386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E046898C-AA45-4CC2-B538-1F7C775C28C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36721" y="1259840"/>
            <a:ext cx="2885439" cy="18084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5485C4B-0241-4528-B909-076448E863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266160" y="1259840"/>
            <a:ext cx="4925839" cy="24180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FFA8D79-EBD9-4243-9DDD-1F911FE8AB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36721" y="3212320"/>
            <a:ext cx="2885439" cy="36456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5EA27642-E0C3-4D96-9A37-6103E5580CB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5197720"/>
            <a:ext cx="4092718" cy="16602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1472D1B-98D6-49B1-BCDB-49992B549A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266160" y="3821920"/>
            <a:ext cx="4925839" cy="303608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 b="1"/>
            </a:lvl1pPr>
          </a:lstStyle>
          <a:p>
            <a:r>
              <a:rPr lang="en-US" dirty="0"/>
              <a:t>Click picture icon </a:t>
            </a:r>
            <a:br>
              <a:rPr lang="en-US" dirty="0"/>
            </a:br>
            <a:r>
              <a:rPr lang="en-US" dirty="0"/>
              <a:t>to add pictur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D998EBF-0298-471A-8BC2-516F19C0BF9D}"/>
              </a:ext>
            </a:extLst>
          </p:cNvPr>
          <p:cNvGrpSpPr/>
          <p:nvPr userDrawn="1"/>
        </p:nvGrpSpPr>
        <p:grpSpPr>
          <a:xfrm>
            <a:off x="501867" y="315378"/>
            <a:ext cx="11318038" cy="658599"/>
            <a:chOff x="501867" y="315378"/>
            <a:chExt cx="11318038" cy="658599"/>
          </a:xfrm>
        </p:grpSpPr>
        <p:pic>
          <p:nvPicPr>
            <p:cNvPr id="16" name="Picture 15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25E916F1-B188-49CB-A4CD-14CE17ED8D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867" y="315378"/>
              <a:ext cx="2759494" cy="574894"/>
            </a:xfrm>
            <a:prstGeom prst="rect">
              <a:avLst/>
            </a:prstGeom>
          </p:spPr>
        </p:pic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3C0024-F000-47FE-8E45-2E05D09EE934}"/>
                </a:ext>
              </a:extLst>
            </p:cNvPr>
            <p:cNvSpPr/>
            <p:nvPr/>
          </p:nvSpPr>
          <p:spPr>
            <a:xfrm>
              <a:off x="4314901" y="681589"/>
              <a:ext cx="7505004" cy="292388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r"/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ENABLING DISCOVERY  </a:t>
              </a:r>
              <a:r>
                <a:rPr lang="en-US" sz="1300" b="0" i="0" u="none" strike="noStrike" spc="100" baseline="0" dirty="0">
                  <a:solidFill>
                    <a:srgbClr val="198C53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POWERING EDUCATION  </a:t>
              </a:r>
              <a:r>
                <a:rPr lang="en-US" sz="1300" b="0" i="0" u="none" strike="noStrike" spc="100" baseline="0" dirty="0">
                  <a:solidFill>
                    <a:srgbClr val="18C76F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|</a:t>
              </a:r>
              <a:r>
                <a:rPr lang="en-US" sz="1300" b="0" i="0" u="none" strike="noStrike" spc="100" baseline="0" dirty="0">
                  <a:solidFill>
                    <a:schemeClr val="tx2"/>
                  </a:solidFill>
                  <a:effectLst/>
                  <a:latin typeface="Open Sans Extrabold" panose="020B0606030504020204" pitchFamily="34" charset="0"/>
                  <a:ea typeface="Open Sans Extrabold" panose="020B0606030504020204" pitchFamily="34" charset="0"/>
                  <a:cs typeface="Open Sans Extrabold" panose="020B0606030504020204" pitchFamily="34" charset="0"/>
                </a:rPr>
                <a:t>  SHAPING WORKFORCES</a:t>
              </a:r>
              <a:endParaRPr lang="en-US" sz="1300" b="0" i="0" spc="100" baseline="0" dirty="0">
                <a:solidFill>
                  <a:schemeClr val="tx2"/>
                </a:solidFill>
                <a:latin typeface="Open Sans Extrabold" panose="020B0606030504020204" pitchFamily="34" charset="0"/>
                <a:ea typeface="Open Sans Extrabold" panose="020B0606030504020204" pitchFamily="34" charset="0"/>
                <a:cs typeface="Open Sans Extrabold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7487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2">
          <p15:clr>
            <a:srgbClr val="FBAE40"/>
          </p15:clr>
        </p15:guide>
        <p15:guide id="2" orient="horz" pos="72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6416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Icon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1988B633-B41D-7B48-9BE5-91AEDE245D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10" y="5748904"/>
            <a:ext cx="6107996" cy="508665"/>
          </a:xfrm>
          <a:prstGeom prst="rect">
            <a:avLst/>
          </a:prstGeom>
        </p:spPr>
        <p:txBody>
          <a:bodyPr lIns="0" rIns="0" anchor="t"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4745D8-01FC-EB4C-99C3-6FCED613DF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0016" y="4872496"/>
            <a:ext cx="6107995" cy="8425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Source Serif Pro" panose="02040603050405020204" pitchFamily="18" charset="0"/>
                <a:ea typeface="Source Serif Pro" panose="02040603050405020204" pitchFamily="18" charset="0"/>
              </a:defRPr>
            </a:lvl1pPr>
            <a:lvl2pPr marL="287338" indent="0">
              <a:buNone/>
              <a:defRPr/>
            </a:lvl2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0F22B1DD-D4E7-2741-9317-DDCD5C9DCB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0011" y="3265046"/>
            <a:ext cx="6108006" cy="1607449"/>
          </a:xfrm>
        </p:spPr>
        <p:txBody>
          <a:bodyPr vert="horz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8FB458-EB31-B6FF-4B66-CA9B134B09F4}"/>
              </a:ext>
            </a:extLst>
          </p:cNvPr>
          <p:cNvSpPr txBox="1"/>
          <p:nvPr userDrawn="1"/>
        </p:nvSpPr>
        <p:spPr>
          <a:xfrm>
            <a:off x="6646985" y="1172308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/>
            <a:endParaRPr lang="en-US" sz="1400" dirty="0">
              <a:solidFill>
                <a:srgbClr val="383838"/>
              </a:solidFill>
            </a:endParaRPr>
          </a:p>
        </p:txBody>
      </p:sp>
      <p:pic>
        <p:nvPicPr>
          <p:cNvPr id="4" name="Picture 3" descr="Wiley Logo">
            <a:extLst>
              <a:ext uri="{FF2B5EF4-FFF2-40B4-BE49-F238E27FC236}">
                <a16:creationId xmlns:a16="http://schemas.microsoft.com/office/drawing/2014/main" id="{8557713D-E1CF-5970-EB71-D288B5262D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63" y="346098"/>
            <a:ext cx="2489781" cy="508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904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7602" y="2197121"/>
            <a:ext cx="11624398" cy="4002881"/>
          </a:xfrm>
        </p:spPr>
        <p:txBody>
          <a:bodyPr lIns="0" tIns="0" rIns="0" bIns="0">
            <a:noAutofit/>
          </a:bodyPr>
          <a:lstStyle>
            <a:lvl1pPr marL="180000" indent="-180000">
              <a:spcAft>
                <a:spcPts val="0"/>
              </a:spcAft>
              <a:tabLst/>
              <a:defRPr sz="1400"/>
            </a:lvl1pPr>
            <a:lvl2pPr marL="360000" indent="-180000">
              <a:spcBef>
                <a:spcPts val="300"/>
              </a:spcBef>
              <a:tabLst/>
              <a:defRPr sz="1400"/>
            </a:lvl2pPr>
            <a:lvl3pPr marL="540000" indent="-180000">
              <a:spcBef>
                <a:spcPts val="300"/>
              </a:spcBef>
              <a:tabLst/>
              <a:defRPr sz="1400"/>
            </a:lvl3pPr>
            <a:lvl4pPr marL="720000" indent="-180000">
              <a:spcBef>
                <a:spcPts val="300"/>
              </a:spcBef>
              <a:tabLst/>
              <a:defRPr sz="1400"/>
            </a:lvl4pPr>
            <a:lvl5pPr marL="900000" indent="-180000">
              <a:spcBef>
                <a:spcPts val="300"/>
              </a:spcBef>
              <a:tabLst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601" y="225997"/>
            <a:ext cx="5653938" cy="1897012"/>
          </a:xfrm>
        </p:spPr>
        <p:txBody>
          <a:bodyPr vert="horz" lIns="0" tIns="36000" rIns="0" bIns="3600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71906FC-3975-3589-EC94-A93A947577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861539" y="300110"/>
            <a:ext cx="5970460" cy="1822899"/>
          </a:xfrm>
        </p:spPr>
        <p:txBody>
          <a:bodyPr lIns="0" tIns="0" rIns="0" bIns="0">
            <a:noAutofit/>
          </a:bodyPr>
          <a:lstStyle>
            <a:lvl1pPr marL="180000" indent="-180000">
              <a:spcAft>
                <a:spcPts val="0"/>
              </a:spcAft>
              <a:tabLst/>
              <a:defRPr sz="1400"/>
            </a:lvl1pPr>
            <a:lvl2pPr marL="360000" indent="-180000">
              <a:spcBef>
                <a:spcPts val="300"/>
              </a:spcBef>
              <a:tabLst/>
              <a:defRPr sz="1400"/>
            </a:lvl2pPr>
            <a:lvl3pPr marL="540000" indent="-180000">
              <a:spcBef>
                <a:spcPts val="300"/>
              </a:spcBef>
              <a:tabLst/>
              <a:defRPr sz="1400"/>
            </a:lvl3pPr>
            <a:lvl4pPr marL="720000" indent="-180000">
              <a:spcBef>
                <a:spcPts val="300"/>
              </a:spcBef>
              <a:tabLst/>
              <a:defRPr sz="1400"/>
            </a:lvl4pPr>
            <a:lvl5pPr marL="900000" indent="-180000">
              <a:spcBef>
                <a:spcPts val="300"/>
              </a:spcBef>
              <a:tabLst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107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200" y="414900"/>
            <a:ext cx="4359146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198" y="1452577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23190C1-BBF5-549C-F545-38DFD2CC940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78197" y="3094818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DE6F3A-9F70-15C5-68EE-F3BD85CA3B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78198" y="4737060"/>
            <a:ext cx="4359147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8120C5-69BA-EAB9-F592-7DD9ECEB3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913801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985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68120C5-69BA-EAB9-F592-7DD9ECEB3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1"/>
            <a:ext cx="12191999" cy="34877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60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4359146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28F2CFE4-9D55-4F3F-85D4-5255463B4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2DE6F3A-9F70-15C5-68EE-F3BD85CA3B7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0000" y="4021956"/>
            <a:ext cx="3359246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C1408A1-BE1B-10D9-F157-C7ACB2BE950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16376" y="4021956"/>
            <a:ext cx="3359246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676C06-99A4-08F5-B12F-15201F01189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10485" y="4021956"/>
            <a:ext cx="3359246" cy="1213106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528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6CEFD0-EE9A-4EDB-ACEC-F3E405993C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030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6CEFD0-EE9A-4EDB-ACEC-F3E405993C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5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8" y="1109676"/>
            <a:ext cx="11472001" cy="4802327"/>
          </a:xfrm>
        </p:spPr>
        <p:txBody>
          <a:bodyPr lIns="0" tIns="36000" rIns="0" bIns="0">
            <a:noAutofit/>
          </a:bodyPr>
          <a:lstStyle>
            <a:lvl1pPr>
              <a:spcAft>
                <a:spcPts val="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9A5513-FE4A-4E6E-AF67-666C40E153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3" y="5912003"/>
            <a:ext cx="11471631" cy="287992"/>
          </a:xfrm>
        </p:spPr>
        <p:txBody>
          <a:bodyPr anchor="b">
            <a:noAutofit/>
          </a:bodyPr>
          <a:lstStyle>
            <a:lvl1pPr marL="180000" indent="-180000">
              <a:spcBef>
                <a:spcPts val="0"/>
              </a:spcBef>
              <a:buFont typeface="+mj-lt"/>
              <a:buAutoNum type="arabicPeriod"/>
              <a:defRPr sz="900"/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607ABACA-B3D8-462B-82D2-B0F21B8C851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8189A68-A628-57A4-6EBF-AE0D060002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3064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C0B302C-F6EF-4516-93CF-8E8E8B9B79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9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C0B302C-F6EF-4516-93CF-8E8E8B9B7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99" cy="864000"/>
          </a:xfrm>
        </p:spPr>
        <p:txBody>
          <a:bodyPr vert="horz" lIns="0" tIns="36000" rIns="0" bIns="3600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5770F9-AAA3-438A-A74D-EC525F123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453701"/>
            <a:ext cx="11471999" cy="4746302"/>
          </a:xfrm>
        </p:spPr>
        <p:txBody>
          <a:bodyPr lIns="0" tIns="0" rIns="0" bIns="0">
            <a:noAutofit/>
          </a:bodyPr>
          <a:lstStyle>
            <a:lvl1pPr marL="180000" indent="-180000">
              <a:spcAft>
                <a:spcPts val="0"/>
              </a:spcAft>
              <a:tabLst/>
              <a:defRPr sz="1400"/>
            </a:lvl1pPr>
            <a:lvl2pPr marL="360000" indent="-180000">
              <a:spcBef>
                <a:spcPts val="300"/>
              </a:spcBef>
              <a:tabLst/>
              <a:defRPr sz="1400"/>
            </a:lvl2pPr>
            <a:lvl3pPr marL="540000" indent="-180000">
              <a:spcBef>
                <a:spcPts val="300"/>
              </a:spcBef>
              <a:tabLst/>
              <a:defRPr sz="1400"/>
            </a:lvl3pPr>
            <a:lvl4pPr marL="720000" indent="-180000">
              <a:spcBef>
                <a:spcPts val="300"/>
              </a:spcBef>
              <a:tabLst/>
              <a:defRPr sz="1400"/>
            </a:lvl4pPr>
            <a:lvl5pPr marL="900000" indent="-180000">
              <a:spcBef>
                <a:spcPts val="300"/>
              </a:spcBef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7471DD1-9E14-8342-B5B2-1DD024C1CB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8" y="1016002"/>
            <a:ext cx="11471999" cy="287996"/>
          </a:xfrm>
        </p:spPr>
        <p:txBody>
          <a:bodyPr lIns="0" tIns="36000" rIns="0" bIns="36000">
            <a:noAutofit/>
          </a:bodyPr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Source Serif Pro" panose="02040603050405020204" pitchFamily="18" charset="0"/>
                <a:ea typeface="Source Serif Pro" panose="02040603050405020204" pitchFamily="18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1E47880-E9F7-477C-B3A2-6E505C2E91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8DEDFDD-48DB-FD43-37CA-375E904BFB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537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740E1FD-51F5-4835-A865-2C14653B91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091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740E1FD-51F5-4835-A865-2C14653B9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6D21847-89D8-4B0B-B71A-4208248E7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72000"/>
            <a:ext cx="11471997" cy="864000"/>
          </a:xfrm>
        </p:spPr>
        <p:txBody>
          <a:bodyPr vert="horz" lIns="0" rIns="0">
            <a:noAutofit/>
          </a:bodyPr>
          <a:lstStyle>
            <a:lvl1pPr>
              <a:defRPr>
                <a:solidFill>
                  <a:srgbClr val="123D8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11EDCA6E-C5BE-4B08-BE3B-3C2A9A23B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PRIETARY &amp; 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09CB0E-2638-A3A8-EA98-B11940D1FE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59998" y="936000"/>
            <a:ext cx="11471996" cy="0"/>
          </a:xfrm>
          <a:prstGeom prst="line">
            <a:avLst/>
          </a:prstGeom>
          <a:ln w="47625">
            <a:gradFill flip="none" rotWithShape="1">
              <a:gsLst>
                <a:gs pos="21000">
                  <a:schemeClr val="accent3">
                    <a:lumMod val="20000"/>
                    <a:lumOff val="80000"/>
                  </a:schemeClr>
                </a:gs>
                <a:gs pos="43000">
                  <a:schemeClr val="accent3">
                    <a:lumMod val="60000"/>
                    <a:lumOff val="40000"/>
                  </a:schemeClr>
                </a:gs>
                <a:gs pos="2000">
                  <a:schemeClr val="accent6">
                    <a:lumMod val="40000"/>
                    <a:lumOff val="60000"/>
                  </a:schemeClr>
                </a:gs>
                <a:gs pos="73000">
                  <a:schemeClr val="accent3">
                    <a:lumMod val="75000"/>
                  </a:schemeClr>
                </a:gs>
                <a:gs pos="100000">
                  <a:schemeClr val="accent3">
                    <a:lumMod val="5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5391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93C7218-E911-45FA-BD7F-C42C08E3003A}"/>
              </a:ext>
            </a:extLst>
          </p:cNvPr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784749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10" imgH="409" progId="TCLayout.ActiveDocument.1">
                  <p:embed/>
                </p:oleObj>
              </mc:Choice>
              <mc:Fallback>
                <p:oleObj name="think-cell Slide" r:id="rId49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93C7218-E911-45FA-BD7F-C42C08E30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2C415-378A-4B23-B8CF-C1989FA656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11471989" cy="864000"/>
          </a:xfrm>
          <a:prstGeom prst="rect">
            <a:avLst/>
          </a:prstGeom>
        </p:spPr>
        <p:txBody>
          <a:bodyPr vert="horz" lIns="0" tIns="36000" rIns="0" bIns="36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F0A601-27A4-402B-8750-A83284B64F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106834"/>
            <a:ext cx="11471983" cy="5093169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 descr="A picture containing icon&#10;&#10;Description automatically generated">
            <a:extLst>
              <a:ext uri="{FF2B5EF4-FFF2-40B4-BE49-F238E27FC236}">
                <a16:creationId xmlns:a16="http://schemas.microsoft.com/office/drawing/2014/main" id="{A434548A-F92B-46D8-9A54-C31B0F911E3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408810"/>
            <a:ext cx="1042286" cy="217143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708102F-7186-48D2-A575-6A2E61127A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66240" y="6442144"/>
            <a:ext cx="3600000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rgbClr val="383838"/>
                </a:solidFill>
              </a:defRPr>
            </a:lvl1pPr>
          </a:lstStyle>
          <a:p>
            <a:r>
              <a:rPr lang="en-US" dirty="0"/>
              <a:t>PROPRIETARY &amp; CONFIDENTI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8D853-17D6-4E0A-B4A3-81C3914D46D6}"/>
              </a:ext>
            </a:extLst>
          </p:cNvPr>
          <p:cNvSpPr txBox="1"/>
          <p:nvPr/>
        </p:nvSpPr>
        <p:spPr>
          <a:xfrm>
            <a:off x="11466240" y="6442144"/>
            <a:ext cx="360000" cy="2160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B6D7789-1921-484D-A3F9-4FF3D340B298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1964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4048" r:id="rId2"/>
    <p:sldLayoutId id="2147484049" r:id="rId3"/>
    <p:sldLayoutId id="2147484044" r:id="rId4"/>
    <p:sldLayoutId id="2147484047" r:id="rId5"/>
    <p:sldLayoutId id="2147484046" r:id="rId6"/>
    <p:sldLayoutId id="2147483981" r:id="rId7"/>
    <p:sldLayoutId id="2147483982" r:id="rId8"/>
    <p:sldLayoutId id="2147483983" r:id="rId9"/>
    <p:sldLayoutId id="2147483984" r:id="rId10"/>
    <p:sldLayoutId id="2147484023" r:id="rId11"/>
    <p:sldLayoutId id="2147484032" r:id="rId12"/>
    <p:sldLayoutId id="2147484025" r:id="rId13"/>
    <p:sldLayoutId id="2147484024" r:id="rId14"/>
    <p:sldLayoutId id="2147484022" r:id="rId15"/>
    <p:sldLayoutId id="2147484021" r:id="rId16"/>
    <p:sldLayoutId id="2147483990" r:id="rId17"/>
    <p:sldLayoutId id="2147484026" r:id="rId18"/>
    <p:sldLayoutId id="2147484033" r:id="rId19"/>
    <p:sldLayoutId id="2147484037" r:id="rId20"/>
    <p:sldLayoutId id="2147484034" r:id="rId21"/>
    <p:sldLayoutId id="2147484038" r:id="rId22"/>
    <p:sldLayoutId id="2147484035" r:id="rId23"/>
    <p:sldLayoutId id="2147484036" r:id="rId24"/>
    <p:sldLayoutId id="2147483991" r:id="rId25"/>
    <p:sldLayoutId id="2147484020" r:id="rId26"/>
    <p:sldLayoutId id="2147483992" r:id="rId27"/>
    <p:sldLayoutId id="2147483993" r:id="rId28"/>
    <p:sldLayoutId id="2147483994" r:id="rId29"/>
    <p:sldLayoutId id="2147483995" r:id="rId30"/>
    <p:sldLayoutId id="2147483996" r:id="rId31"/>
    <p:sldLayoutId id="2147484043" r:id="rId32"/>
    <p:sldLayoutId id="2147483997" r:id="rId33"/>
    <p:sldLayoutId id="2147484000" r:id="rId34"/>
    <p:sldLayoutId id="2147484001" r:id="rId35"/>
    <p:sldLayoutId id="2147484002" r:id="rId36"/>
    <p:sldLayoutId id="2147484003" r:id="rId37"/>
    <p:sldLayoutId id="2147484004" r:id="rId38"/>
    <p:sldLayoutId id="2147484040" r:id="rId39"/>
    <p:sldLayoutId id="2147484008" r:id="rId40"/>
    <p:sldLayoutId id="2147484011" r:id="rId41"/>
    <p:sldLayoutId id="2147484014" r:id="rId42"/>
    <p:sldLayoutId id="2147484041" r:id="rId43"/>
    <p:sldLayoutId id="2147484015" r:id="rId44"/>
    <p:sldLayoutId id="2147484050" r:id="rId45"/>
    <p:sldLayoutId id="2147484051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123D80"/>
          </a:solidFill>
          <a:latin typeface="+mj-lt"/>
          <a:ea typeface="Open Sans Extrabold" panose="020B0606030504020204" pitchFamily="34" charset="0"/>
          <a:cs typeface="Open Sans Extrabold" panose="020B0606030504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chemeClr val="tx1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Open Sans" panose="020B0606030504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744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ccessibility.day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cvolpe@wiley.com" TargetMode="External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hyperlink" Target="https://www.linkedin.com/in/christinavolp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s://www.w3.org/TR/maturity-model/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person typing on a computer">
            <a:extLst>
              <a:ext uri="{FF2B5EF4-FFF2-40B4-BE49-F238E27FC236}">
                <a16:creationId xmlns:a16="http://schemas.microsoft.com/office/drawing/2014/main" id="{CDD64D14-02C6-5323-7FDC-D224AD54A7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1" t="36462" b="-303"/>
          <a:stretch/>
        </p:blipFill>
        <p:spPr>
          <a:xfrm>
            <a:off x="-47345" y="1798862"/>
            <a:ext cx="12239345" cy="521099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6DE5CD-03B8-1497-0249-9A1B07D6614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236913"/>
            <a:ext cx="12192000" cy="1166812"/>
          </a:xfrm>
          <a:prstGeom prst="rect">
            <a:avLst/>
          </a:prstGeom>
          <a:solidFill>
            <a:schemeClr val="accent3">
              <a:lumMod val="75000"/>
              <a:alpha val="81152"/>
            </a:schemeClr>
          </a:solidFill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36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rPr>
              <a:t>Think like an instructional designer: A case study in accessibility training at sca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6B2B7A1-D1F8-10D1-1F9B-BFD8F426CE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0000" y="1270000"/>
            <a:ext cx="635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68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1DC6F9-B968-2ECA-D779-0056491B75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930A7-ED14-9606-BBA5-34EA31450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5. How are you going to promote it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02DB30-63E7-940A-5C0C-295C354E64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33499"/>
            <a:ext cx="12192000" cy="4866503"/>
          </a:xfrm>
          <a:solidFill>
            <a:schemeClr val="accent3">
              <a:lumMod val="75000"/>
            </a:schemeClr>
          </a:solidFill>
        </p:spPr>
        <p:txBody>
          <a:bodyPr tIns="274320"/>
          <a:lstStyle/>
          <a:p>
            <a:pPr marL="0" indent="0" algn="ctr">
              <a:buNone/>
            </a:pPr>
            <a:r>
              <a:rPr lang="en-US" sz="2400" b="1" dirty="0">
                <a:solidFill>
                  <a:schemeClr val="bg1"/>
                </a:solidFill>
              </a:rPr>
              <a:t>Consider how people communicate within your organization</a:t>
            </a:r>
          </a:p>
        </p:txBody>
      </p:sp>
      <p:graphicFrame>
        <p:nvGraphicFramePr>
          <p:cNvPr id="9" name="Diagram 8" descr="Graphical representation of a communications plan: who, how, and when.">
            <a:extLst>
              <a:ext uri="{FF2B5EF4-FFF2-40B4-BE49-F238E27FC236}">
                <a16:creationId xmlns:a16="http://schemas.microsoft.com/office/drawing/2014/main" id="{1682146B-97AB-46DC-2BB1-54FBB15852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4492781"/>
              </p:ext>
            </p:extLst>
          </p:nvPr>
        </p:nvGraphicFramePr>
        <p:xfrm>
          <a:off x="2457450" y="2387600"/>
          <a:ext cx="7277100" cy="3382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386819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8CFDE9-E957-BCA5-FFDD-0803AAAA9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did: Promotional strate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27DB74-48D3-E9EF-6FB9-0899F4ECDD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7120" y="1070444"/>
            <a:ext cx="11471997" cy="3105239"/>
          </a:xfrm>
          <a:solidFill>
            <a:schemeClr val="accent3">
              <a:lumMod val="75000"/>
            </a:schemeClr>
          </a:solidFill>
        </p:spPr>
        <p:txBody>
          <a:bodyPr tIns="457200" anchor="t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ulti-level communications plan consisting of</a:t>
            </a:r>
          </a:p>
        </p:txBody>
      </p:sp>
      <p:pic>
        <p:nvPicPr>
          <p:cNvPr id="9" name="Content Placeholder 8" descr="Newspaper with solid fill">
            <a:extLst>
              <a:ext uri="{FF2B5EF4-FFF2-40B4-BE49-F238E27FC236}">
                <a16:creationId xmlns:a16="http://schemas.microsoft.com/office/drawing/2014/main" id="{D756FE24-6102-4046-194B-01F1CC5E15D6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09401" y="2135603"/>
            <a:ext cx="1406097" cy="1406097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98F844-7C67-76D2-F6A0-02BFA3286A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5083" y="3527733"/>
            <a:ext cx="1375235" cy="432000"/>
          </a:xfrm>
          <a:noFill/>
          <a:ln>
            <a:noFill/>
          </a:ln>
        </p:spPr>
        <p:txBody>
          <a:bodyPr/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Newsletters</a:t>
            </a:r>
          </a:p>
        </p:txBody>
      </p:sp>
      <p:pic>
        <p:nvPicPr>
          <p:cNvPr id="15" name="Graphic 14" descr="Blog with solid fill">
            <a:extLst>
              <a:ext uri="{FF2B5EF4-FFF2-40B4-BE49-F238E27FC236}">
                <a16:creationId xmlns:a16="http://schemas.microsoft.com/office/drawing/2014/main" id="{623F7367-9397-027D-86F1-515E7EA908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89692" y="2135603"/>
            <a:ext cx="1318749" cy="1318749"/>
          </a:xfrm>
          <a:prstGeom prst="rect">
            <a:avLst/>
          </a:prstGeom>
        </p:spPr>
      </p:pic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A131B18-9C23-525B-1D19-9C7FD2C38E9A}"/>
              </a:ext>
            </a:extLst>
          </p:cNvPr>
          <p:cNvSpPr txBox="1">
            <a:spLocks/>
          </p:cNvSpPr>
          <p:nvPr/>
        </p:nvSpPr>
        <p:spPr>
          <a:xfrm>
            <a:off x="3978534" y="3518846"/>
            <a:ext cx="1429907" cy="432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720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54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5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709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Wire articles</a:t>
            </a:r>
          </a:p>
        </p:txBody>
      </p:sp>
      <p:pic>
        <p:nvPicPr>
          <p:cNvPr id="13" name="Graphic 12" descr="Vlog with solid fill">
            <a:extLst>
              <a:ext uri="{FF2B5EF4-FFF2-40B4-BE49-F238E27FC236}">
                <a16:creationId xmlns:a16="http://schemas.microsoft.com/office/drawing/2014/main" id="{0E2E1E2F-5F0B-27E5-E263-87F3647566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60171" y="2135604"/>
            <a:ext cx="1318748" cy="1318748"/>
          </a:xfrm>
          <a:prstGeom prst="rect">
            <a:avLst/>
          </a:prstGeom>
        </p:spPr>
      </p:pic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BEADD1B-62A2-95A8-F59D-86B22DDD2C88}"/>
              </a:ext>
            </a:extLst>
          </p:cNvPr>
          <p:cNvSpPr txBox="1">
            <a:spLocks/>
          </p:cNvSpPr>
          <p:nvPr/>
        </p:nvSpPr>
        <p:spPr>
          <a:xfrm>
            <a:off x="6096001" y="3518846"/>
            <a:ext cx="2086790" cy="432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720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54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5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709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Teams &amp; Viva Engage</a:t>
            </a:r>
          </a:p>
        </p:txBody>
      </p:sp>
      <p:pic>
        <p:nvPicPr>
          <p:cNvPr id="19" name="Content Placeholder 18" descr="Boardroom with solid fill">
            <a:extLst>
              <a:ext uri="{FF2B5EF4-FFF2-40B4-BE49-F238E27FC236}">
                <a16:creationId xmlns:a16="http://schemas.microsoft.com/office/drawing/2014/main" id="{157AAF4D-987A-E428-A849-0CDE421A31CB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92818" y="2135604"/>
            <a:ext cx="1283671" cy="1283671"/>
          </a:xfrm>
        </p:spPr>
      </p:pic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B5E1EF3-BBAD-4F7B-B387-B79C0E9A6BDA}"/>
              </a:ext>
            </a:extLst>
          </p:cNvPr>
          <p:cNvSpPr txBox="1">
            <a:spLocks/>
          </p:cNvSpPr>
          <p:nvPr/>
        </p:nvSpPr>
        <p:spPr>
          <a:xfrm>
            <a:off x="8806680" y="3518846"/>
            <a:ext cx="1800237" cy="4320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720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2"/>
                </a:solidFill>
                <a:latin typeface="+mj-lt"/>
                <a:ea typeface="Open Sans Extrabold" panose="020B0606030504020204" pitchFamily="34" charset="0"/>
                <a:cs typeface="Open Sans Extrabold" panose="020B0606030504020204" pitchFamily="34" charset="0"/>
              </a:defRPr>
            </a:lvl1pPr>
            <a:lvl2pPr marL="457178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354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532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709" indent="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500" dirty="0">
                <a:solidFill>
                  <a:schemeClr val="bg1"/>
                </a:solidFill>
              </a:rPr>
              <a:t>Team roadshow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9699222-6C3D-7178-7CD7-75F9CBA7C1AB}"/>
              </a:ext>
            </a:extLst>
          </p:cNvPr>
          <p:cNvSpPr txBox="1"/>
          <p:nvPr/>
        </p:nvSpPr>
        <p:spPr>
          <a:xfrm>
            <a:off x="359999" y="4437094"/>
            <a:ext cx="11459118" cy="108857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endParaRPr lang="en-US" dirty="0">
              <a:solidFill>
                <a:srgbClr val="383838"/>
              </a:solidFill>
            </a:endParaRPr>
          </a:p>
          <a:p>
            <a:pPr algn="ctr"/>
            <a:r>
              <a:rPr lang="en-US" dirty="0">
                <a:solidFill>
                  <a:srgbClr val="383838"/>
                </a:solidFill>
              </a:rPr>
              <a:t>Messages were targeted to the audience and the communications method.</a:t>
            </a:r>
            <a:endParaRPr lang="en-US" sz="1100" dirty="0">
              <a:solidFill>
                <a:srgbClr val="383838"/>
              </a:solidFill>
            </a:endParaRPr>
          </a:p>
          <a:p>
            <a:pPr algn="ctr"/>
            <a:endParaRPr lang="en-US" sz="1100" dirty="0">
              <a:solidFill>
                <a:srgbClr val="383838"/>
              </a:solidFill>
            </a:endParaRPr>
          </a:p>
          <a:p>
            <a:pPr algn="ctr"/>
            <a:r>
              <a:rPr lang="en-US" dirty="0">
                <a:solidFill>
                  <a:srgbClr val="383838"/>
                </a:solidFill>
              </a:rPr>
              <a:t>We measured program engagement against promotional messaging. </a:t>
            </a:r>
          </a:p>
          <a:p>
            <a:pPr algn="ctr"/>
            <a:endParaRPr lang="en-US" sz="1400" dirty="0">
              <a:solidFill>
                <a:srgbClr val="3838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9346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9AF8B46-925C-684D-04E3-7BF5A532C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Program results by the numb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0193336-EE9F-B5DC-011D-DF719C6B2ADF}"/>
              </a:ext>
            </a:extLst>
          </p:cNvPr>
          <p:cNvSpPr txBox="1"/>
          <p:nvPr/>
        </p:nvSpPr>
        <p:spPr>
          <a:xfrm>
            <a:off x="311362" y="1400726"/>
            <a:ext cx="115206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0" i="0" u="none" strike="noStrike" dirty="0">
                <a:solidFill>
                  <a:srgbClr val="383838"/>
                </a:solidFill>
                <a:effectLst/>
                <a:latin typeface="Open Sans" panose="020B0606030504020204" pitchFamily="34" charset="0"/>
              </a:rPr>
              <a:t>Program was released on May 18, 2023, to celebrate </a:t>
            </a:r>
            <a:r>
              <a:rPr lang="en-US" sz="1800" b="0" i="0" u="sng" strike="noStrike" dirty="0">
                <a:solidFill>
                  <a:srgbClr val="1B5BA0"/>
                </a:solidFill>
                <a:effectLst/>
                <a:latin typeface="Open Sans" panose="020B0606030504020204" pitchFamily="34" charset="0"/>
                <a:hlinkClick r:id="rId3"/>
              </a:rPr>
              <a:t>Global Accessibility Awareness Day (GAAD)</a:t>
            </a:r>
            <a:r>
              <a:rPr lang="en-US" sz="1800" b="0" i="0" u="none" strike="noStrike" dirty="0">
                <a:solidFill>
                  <a:srgbClr val="383838"/>
                </a:solidFill>
                <a:effectLst/>
                <a:latin typeface="Open Sans" panose="020B0606030504020204" pitchFamily="34" charset="0"/>
              </a:rPr>
              <a:t>. 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​</a:t>
            </a:r>
            <a:endParaRPr lang="en-US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C76EF0E-B6E7-F377-0231-949761F96FFE}"/>
              </a:ext>
            </a:extLst>
          </p:cNvPr>
          <p:cNvSpPr>
            <a:spLocks noChangeAspect="1"/>
          </p:cNvSpPr>
          <p:nvPr/>
        </p:nvSpPr>
        <p:spPr>
          <a:xfrm>
            <a:off x="311362" y="2234789"/>
            <a:ext cx="2685846" cy="268688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635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640</a:t>
            </a:r>
          </a:p>
          <a:p>
            <a:pPr algn="ctr"/>
            <a:endParaRPr lang="en-US" sz="800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rgbClr val="FFFFFF"/>
                </a:solidFill>
                <a:latin typeface="Open Sans" panose="020B0606030504020204" pitchFamily="34" charset="0"/>
              </a:rPr>
              <a:t>C</a:t>
            </a:r>
            <a:r>
              <a:rPr lang="en-US" sz="1600" b="0" i="0" u="none" strike="noStrike" dirty="0">
                <a:solidFill>
                  <a:srgbClr val="FFFFFF"/>
                </a:solidFill>
                <a:effectLst/>
                <a:latin typeface="Open Sans" panose="020B0606030504020204" pitchFamily="34" charset="0"/>
              </a:rPr>
              <a:t>olleagues who  have completed or accessed course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AD0F648-C70B-0507-9055-4C5406661BC4}"/>
              </a:ext>
            </a:extLst>
          </p:cNvPr>
          <p:cNvSpPr>
            <a:spLocks noChangeAspect="1"/>
          </p:cNvSpPr>
          <p:nvPr/>
        </p:nvSpPr>
        <p:spPr>
          <a:xfrm>
            <a:off x="3240097" y="2234787"/>
            <a:ext cx="2685846" cy="268688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635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3,490</a:t>
            </a:r>
          </a:p>
          <a:p>
            <a:pPr algn="ctr"/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rgbClr val="FFFFFF"/>
                </a:solidFill>
                <a:latin typeface="Open Sans" panose="020B0606030504020204" pitchFamily="34" charset="0"/>
              </a:rPr>
              <a:t>Colleagues who have visited our documents for the first tim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D4E3CE7-7AC9-EAC9-3D74-7F9DE47C57FB}"/>
              </a:ext>
            </a:extLst>
          </p:cNvPr>
          <p:cNvSpPr>
            <a:spLocks noChangeAspect="1"/>
          </p:cNvSpPr>
          <p:nvPr/>
        </p:nvSpPr>
        <p:spPr>
          <a:xfrm>
            <a:off x="6168833" y="2234786"/>
            <a:ext cx="2685847" cy="268688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635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9,662</a:t>
            </a:r>
          </a:p>
          <a:p>
            <a:pPr algn="ctr"/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1600" b="0" i="0" u="none" strike="noStrike" dirty="0">
                <a:solidFill>
                  <a:srgbClr val="FFFFFF"/>
                </a:solidFill>
                <a:effectLst/>
                <a:latin typeface="Open Sans" panose="020B0606030504020204" pitchFamily="34" charset="0"/>
              </a:rPr>
              <a:t>The total number of views our documents have received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CBC49BD-CA04-0711-7F5E-FC95DD36D79A}"/>
              </a:ext>
            </a:extLst>
          </p:cNvPr>
          <p:cNvSpPr>
            <a:spLocks noChangeAspect="1"/>
          </p:cNvSpPr>
          <p:nvPr/>
        </p:nvSpPr>
        <p:spPr>
          <a:xfrm>
            <a:off x="9146148" y="2234786"/>
            <a:ext cx="2685847" cy="268688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6350" cap="flat" cmpd="sng" algn="ctr">
            <a:solidFill>
              <a:schemeClr val="accent3">
                <a:lumMod val="75000"/>
              </a:schemeClr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</a:rPr>
              <a:t>1,000</a:t>
            </a:r>
          </a:p>
          <a:p>
            <a:pPr algn="ctr"/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1600" b="0" i="0" u="none" strike="noStrike" dirty="0">
                <a:solidFill>
                  <a:srgbClr val="FFFFFF"/>
                </a:solidFill>
                <a:effectLst/>
                <a:latin typeface="Open Sans" panose="020B0606030504020204" pitchFamily="34" charset="0"/>
              </a:rPr>
              <a:t>Colleagues who have participated in some form of live training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A760E38-6FB8-B217-78D7-769EECF2D990}"/>
              </a:ext>
            </a:extLst>
          </p:cNvPr>
          <p:cNvSpPr txBox="1"/>
          <p:nvPr/>
        </p:nvSpPr>
        <p:spPr>
          <a:xfrm>
            <a:off x="364368" y="5162721"/>
            <a:ext cx="3478762" cy="117944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dirty="0">
                <a:solidFill>
                  <a:srgbClr val="383838"/>
                </a:solidFill>
              </a:rPr>
              <a:t>Rise in colleague engagemen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5A84F4-9A4B-4F15-66D5-3413AAEA40F4}"/>
              </a:ext>
            </a:extLst>
          </p:cNvPr>
          <p:cNvSpPr txBox="1"/>
          <p:nvPr/>
        </p:nvSpPr>
        <p:spPr>
          <a:xfrm>
            <a:off x="4413501" y="5175971"/>
            <a:ext cx="3474720" cy="117944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dirty="0">
                <a:solidFill>
                  <a:srgbClr val="383838"/>
                </a:solidFill>
              </a:rPr>
              <a:t>Increased support for born accessible processe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96C00E1-6955-89EF-BDBC-BCF80378F6DC}"/>
              </a:ext>
            </a:extLst>
          </p:cNvPr>
          <p:cNvSpPr txBox="1"/>
          <p:nvPr/>
        </p:nvSpPr>
        <p:spPr>
          <a:xfrm>
            <a:off x="8467003" y="5175971"/>
            <a:ext cx="3474720" cy="117944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dirty="0">
                <a:solidFill>
                  <a:srgbClr val="383838"/>
                </a:solidFill>
              </a:rPr>
              <a:t>Faster resolutions to existing tech deb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D31F5B3-E2F8-A16C-7165-B378F75B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187528" y="5281985"/>
            <a:ext cx="0" cy="1005840"/>
          </a:xfrm>
          <a:prstGeom prst="line">
            <a:avLst/>
          </a:prstGeom>
          <a:ln w="28575">
            <a:solidFill>
              <a:srgbClr val="2970B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AB812DB-0B5F-9BE9-0A16-72C14CC14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099232" y="5255485"/>
            <a:ext cx="0" cy="1005840"/>
          </a:xfrm>
          <a:prstGeom prst="line">
            <a:avLst/>
          </a:prstGeom>
          <a:ln w="28575">
            <a:solidFill>
              <a:srgbClr val="2970B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849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29BFFF6-C6C2-B585-551D-08EEE185F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334850"/>
            <a:ext cx="12192000" cy="936000"/>
          </a:xfrm>
          <a:solidFill>
            <a:schemeClr val="accent3">
              <a:lumMod val="75000"/>
              <a:alpha val="72000"/>
            </a:schemeClr>
          </a:solidFill>
        </p:spPr>
        <p:txBody>
          <a:bodyPr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hat we learne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9FE37D-A8C3-48FD-2B6A-33A59B1F3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0" y="1637866"/>
            <a:ext cx="4644980" cy="3454996"/>
          </a:xfrm>
          <a:solidFill>
            <a:schemeClr val="accent3">
              <a:lumMod val="75000"/>
              <a:alpha val="72000"/>
            </a:schemeClr>
          </a:solidFill>
        </p:spPr>
        <p:txBody>
          <a:bodyPr lIns="274320" tIns="182880" rIns="274320" bIns="182880"/>
          <a:lstStyle/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How we presented and organized content was appreciated</a:t>
            </a: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People want more video</a:t>
            </a: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Programs of this nature need a top-down, bottom-up approach</a:t>
            </a: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Constant promotion is key</a:t>
            </a: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Badging and rewards should be explored</a:t>
            </a: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Add into new employee onboarding</a:t>
            </a:r>
          </a:p>
          <a:p>
            <a:pPr>
              <a:buClr>
                <a:schemeClr val="bg1"/>
              </a:buClr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381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D190D6D-5043-3424-7A45-CACB95064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5874064" cy="1710919"/>
          </a:xfrm>
          <a:gradFill flip="none" rotWithShape="1">
            <a:gsLst>
              <a:gs pos="40000">
                <a:srgbClr val="2970BA"/>
              </a:gs>
              <a:gs pos="100000">
                <a:schemeClr val="accent3">
                  <a:lumMod val="75000"/>
                </a:schemeClr>
              </a:gs>
            </a:gsLst>
            <a:lin ang="0" scaled="0"/>
            <a:tileRect/>
          </a:gradFill>
          <a:ln>
            <a:noFill/>
          </a:ln>
        </p:spPr>
        <p:txBody>
          <a:bodyPr lIns="1280160" anchor="ctr"/>
          <a:lstStyle/>
          <a:p>
            <a:r>
              <a:rPr lang="en-US" sz="480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F0C2578-DDBD-876A-3977-184BF4B3020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874064" y="0"/>
            <a:ext cx="6317767" cy="1710919"/>
          </a:xfrm>
          <a:gradFill flip="none" rotWithShape="1">
            <a:gsLst>
              <a:gs pos="0">
                <a:schemeClr val="accent3">
                  <a:lumMod val="75000"/>
                </a:schemeClr>
              </a:gs>
              <a:gs pos="35000">
                <a:schemeClr val="accent3">
                  <a:lumMod val="50000"/>
                </a:schemeClr>
              </a:gs>
            </a:gsLst>
            <a:lin ang="0" scaled="1"/>
            <a:tileRect/>
          </a:gradFill>
        </p:spPr>
        <p:txBody>
          <a:bodyPr lIns="1188720" anchor="ctr"/>
          <a:lstStyle/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Christina Volpe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Lead, Accessibility Solutions, Wiley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olpe@wiley.com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lang="en-US" sz="16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AE6920B-07DD-B3A0-A240-F02D26AF4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36506" y="276840"/>
            <a:ext cx="1250066" cy="1250066"/>
            <a:chOff x="5470967" y="567158"/>
            <a:chExt cx="1250066" cy="125006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3F95FBC-9CF5-8C6D-75D1-AF9837596404}"/>
                </a:ext>
              </a:extLst>
            </p:cNvPr>
            <p:cNvSpPr/>
            <p:nvPr/>
          </p:nvSpPr>
          <p:spPr>
            <a:xfrm>
              <a:off x="5470967" y="567158"/>
              <a:ext cx="1250066" cy="1250066"/>
            </a:xfrm>
            <a:prstGeom prst="ellipse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miter lim="800000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EC963CD-83F3-F96A-CE63-FB6383F3741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l="35555" t="40710" r="40000" b="32361"/>
            <a:stretch/>
          </p:blipFill>
          <p:spPr>
            <a:xfrm rot="16200000">
              <a:off x="5700834" y="805980"/>
              <a:ext cx="893316" cy="984115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747DA96-6D13-B4D7-B4D6-15EBC6A6A8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50"/>
          <a:stretch/>
        </p:blipFill>
        <p:spPr>
          <a:xfrm>
            <a:off x="-9774" y="1710919"/>
            <a:ext cx="12211546" cy="514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9429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F70ED4-41C5-444F-7B51-B61F2DB06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6ABC343-108A-744E-AD24-9AE6AF0B2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About Wiley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0099D31-56E6-E52D-94B2-B9D16B8E4E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999" y="1362203"/>
            <a:ext cx="4359147" cy="1213106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>
                <a:latin typeface="Open Sans ExtraBold"/>
                <a:ea typeface="Open Sans ExtraBold"/>
                <a:cs typeface="Open Sans ExtraBold"/>
              </a:rPr>
              <a:t>200+ year-old educational provider serving students, instructors, researchers, adult learners, and corpor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AC2973-64D0-FBF0-E7E0-B6AD02816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0097" y="2780903"/>
            <a:ext cx="4266114" cy="382622"/>
          </a:xfrm>
          <a:prstGeom prst="rect">
            <a:avLst/>
          </a:prstGeom>
          <a:solidFill>
            <a:srgbClr val="2970BA"/>
          </a:solidFill>
          <a:ln w="6350" cap="flat" cmpd="sng" algn="ctr">
            <a:solidFill>
              <a:srgbClr val="198C53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A891E9-71BB-4B5C-FD21-0857AEF24B1A}"/>
              </a:ext>
            </a:extLst>
          </p:cNvPr>
          <p:cNvSpPr/>
          <p:nvPr/>
        </p:nvSpPr>
        <p:spPr>
          <a:xfrm>
            <a:off x="311055" y="2708046"/>
            <a:ext cx="4266114" cy="382622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 cap="flat" cmpd="sng" algn="ctr">
            <a:solidFill>
              <a:srgbClr val="198C53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Product portfolio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619C694-5248-116D-A038-03D42E9C86A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049114" y="3429000"/>
            <a:ext cx="4359147" cy="1213106"/>
          </a:xfrm>
        </p:spPr>
        <p:txBody>
          <a:bodyPr/>
          <a:lstStyle/>
          <a:p>
            <a:r>
              <a:rPr lang="en-US" sz="1800" dirty="0"/>
              <a:t>eBooks &amp; ancillaries</a:t>
            </a:r>
          </a:p>
          <a:p>
            <a:r>
              <a:rPr lang="en-US" sz="1800" dirty="0"/>
              <a:t>Courseware</a:t>
            </a:r>
          </a:p>
          <a:p>
            <a:r>
              <a:rPr lang="en-US" sz="1800" dirty="0"/>
              <a:t>Journals</a:t>
            </a:r>
          </a:p>
          <a:p>
            <a:r>
              <a:rPr lang="en-US" sz="1800" dirty="0"/>
              <a:t>Websites</a:t>
            </a:r>
          </a:p>
          <a:p>
            <a:r>
              <a:rPr lang="en-US" sz="1800" dirty="0"/>
              <a:t>Software</a:t>
            </a:r>
          </a:p>
          <a:p>
            <a:r>
              <a:rPr lang="en-US" sz="1800" dirty="0"/>
              <a:t>Mobile application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F6E1002-4F32-D0AC-C6E6-7E415360F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53667" y="3429000"/>
            <a:ext cx="0" cy="2161572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person smiling while holding a book.">
            <a:extLst>
              <a:ext uri="{FF2B5EF4-FFF2-40B4-BE49-F238E27FC236}">
                <a16:creationId xmlns:a16="http://schemas.microsoft.com/office/drawing/2014/main" id="{5B39946B-3C07-D457-79A4-BE8F05FD1D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261" y="1593885"/>
            <a:ext cx="5880056" cy="3921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653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C15242BA-3FF0-EDD5-BACA-579381EFB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Where does accessibility (a11y) have an impact?</a:t>
            </a:r>
          </a:p>
        </p:txBody>
      </p:sp>
      <p:graphicFrame>
        <p:nvGraphicFramePr>
          <p:cNvPr id="11" name="Content Placeholder 10" descr="The seven dimensions of an accessibility maturity model with their descriptions. ">
            <a:extLst>
              <a:ext uri="{FF2B5EF4-FFF2-40B4-BE49-F238E27FC236}">
                <a16:creationId xmlns:a16="http://schemas.microsoft.com/office/drawing/2014/main" id="{8713D141-9A7C-FD34-0329-F205E94A88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1486904"/>
              </p:ext>
            </p:extLst>
          </p:nvPr>
        </p:nvGraphicFramePr>
        <p:xfrm>
          <a:off x="360363" y="1109663"/>
          <a:ext cx="11471275" cy="5091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15">
            <a:hlinkClick r:id="rId7"/>
            <a:extLst>
              <a:ext uri="{FF2B5EF4-FFF2-40B4-BE49-F238E27FC236}">
                <a16:creationId xmlns:a16="http://schemas.microsoft.com/office/drawing/2014/main" id="{4DACC8DF-F752-C880-1E28-0019788DA7FE}"/>
              </a:ext>
            </a:extLst>
          </p:cNvPr>
          <p:cNvSpPr txBox="1"/>
          <p:nvPr/>
        </p:nvSpPr>
        <p:spPr>
          <a:xfrm>
            <a:off x="8477736" y="6200775"/>
            <a:ext cx="3445565" cy="3676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indent="0" algn="ctr">
              <a:buNone/>
            </a:pPr>
            <a:r>
              <a:rPr lang="en-US" sz="1400" b="1" i="1" dirty="0">
                <a:hlinkClick r:id="rId7"/>
              </a:rPr>
              <a:t>W3C Accessibility Maturity Model</a:t>
            </a:r>
            <a:endParaRPr lang="en-US" sz="1400" b="1" i="1" dirty="0"/>
          </a:p>
        </p:txBody>
      </p:sp>
    </p:spTree>
    <p:extLst>
      <p:ext uri="{BB962C8B-B14F-4D97-AF65-F5344CB8AC3E}">
        <p14:creationId xmlns:p14="http://schemas.microsoft.com/office/powerpoint/2010/main" val="1062791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5DBA0-FF95-0693-B3D5-795E22D3EC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5EDD16-A4AC-DDFB-6188-A6008F7638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37043"/>
            <a:ext cx="11460939" cy="864000"/>
          </a:xfrm>
        </p:spPr>
        <p:txBody>
          <a:bodyPr/>
          <a:lstStyle/>
          <a:p>
            <a:r>
              <a:rPr lang="en-US" sz="3600" dirty="0"/>
              <a:t>2. </a:t>
            </a:r>
            <a:r>
              <a:rPr lang="en-US" sz="3600" dirty="0">
                <a:latin typeface="Open Sans ExtraBold"/>
                <a:ea typeface="Open Sans ExtraBold"/>
                <a:cs typeface="Open Sans ExtraBold"/>
              </a:rPr>
              <a:t>What are my instructional design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</a:rPr>
              <a:t>needs?</a:t>
            </a:r>
            <a:endParaRPr lang="en-US" sz="3600" dirty="0"/>
          </a:p>
        </p:txBody>
      </p:sp>
      <p:pic>
        <p:nvPicPr>
          <p:cNvPr id="4" name="Graphic 3" descr="Daily calendar with solid fill">
            <a:extLst>
              <a:ext uri="{FF2B5EF4-FFF2-40B4-BE49-F238E27FC236}">
                <a16:creationId xmlns:a16="http://schemas.microsoft.com/office/drawing/2014/main" id="{32D6359C-637F-965E-74C2-BAC64CBF6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2501" y="1792764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B52B0A-E595-6A9C-7A22-0D147EBC7BFC}"/>
              </a:ext>
            </a:extLst>
          </p:cNvPr>
          <p:cNvSpPr txBox="1"/>
          <p:nvPr/>
        </p:nvSpPr>
        <p:spPr>
          <a:xfrm>
            <a:off x="752501" y="2844099"/>
            <a:ext cx="2743200" cy="3539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  <a:latin typeface="Open Sans ExtraBold"/>
                <a:ea typeface="Open Sans ExtraBold"/>
                <a:cs typeface="Open Sans ExtraBold"/>
              </a:rPr>
              <a:t>When do people learn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CA479B-338E-6B03-EE00-A286E62C5FC9}"/>
              </a:ext>
            </a:extLst>
          </p:cNvPr>
          <p:cNvSpPr txBox="1"/>
          <p:nvPr/>
        </p:nvSpPr>
        <p:spPr>
          <a:xfrm>
            <a:off x="830879" y="3888793"/>
            <a:ext cx="2743200" cy="21866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9000"/>
              </a:lnSpc>
            </a:pPr>
            <a:r>
              <a:rPr lang="en-US" dirty="0">
                <a:latin typeface="Open Sans"/>
                <a:ea typeface="Open Sans"/>
                <a:cs typeface="Open Sans"/>
              </a:rPr>
              <a:t>Professional learning has unique needs. </a:t>
            </a:r>
          </a:p>
          <a:p>
            <a:pPr>
              <a:lnSpc>
                <a:spcPct val="109000"/>
              </a:lnSpc>
            </a:pPr>
            <a:endParaRPr lang="en-US" sz="1400" dirty="0">
              <a:ea typeface="Open Sans"/>
              <a:cs typeface="Open Sans"/>
            </a:endParaRPr>
          </a:p>
          <a:p>
            <a:pPr>
              <a:lnSpc>
                <a:spcPct val="109000"/>
              </a:lnSpc>
            </a:pPr>
            <a:endParaRPr lang="en-US" sz="1400" dirty="0">
              <a:ea typeface="Open Sans"/>
              <a:cs typeface="Open Sans"/>
            </a:endParaRPr>
          </a:p>
          <a:p>
            <a:pPr>
              <a:lnSpc>
                <a:spcPct val="109000"/>
              </a:lnSpc>
            </a:pPr>
            <a:r>
              <a:rPr lang="en-US" sz="28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Flexibility</a:t>
            </a:r>
          </a:p>
          <a:p>
            <a:pPr>
              <a:lnSpc>
                <a:spcPct val="109000"/>
              </a:lnSpc>
            </a:pPr>
            <a:r>
              <a:rPr lang="en-US" sz="16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and timing are important in a professional setting.</a:t>
            </a:r>
          </a:p>
          <a:p>
            <a:pPr algn="l"/>
            <a:endParaRPr lang="en-US" sz="1400" dirty="0">
              <a:solidFill>
                <a:srgbClr val="383838"/>
              </a:solidFill>
            </a:endParaRPr>
          </a:p>
        </p:txBody>
      </p:sp>
      <p:pic>
        <p:nvPicPr>
          <p:cNvPr id="11" name="Graphic 10" descr="Classroom, icon">
            <a:extLst>
              <a:ext uri="{FF2B5EF4-FFF2-40B4-BE49-F238E27FC236}">
                <a16:creationId xmlns:a16="http://schemas.microsoft.com/office/drawing/2014/main" id="{A9C13A3C-6193-46C3-AF01-2ECB46420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30369" y="1753676"/>
            <a:ext cx="914400" cy="9144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430B4A6-2458-B6D8-5D6E-7ABEB29FCA2B}"/>
              </a:ext>
            </a:extLst>
          </p:cNvPr>
          <p:cNvSpPr txBox="1"/>
          <p:nvPr/>
        </p:nvSpPr>
        <p:spPr>
          <a:xfrm>
            <a:off x="4344178" y="2836648"/>
            <a:ext cx="3049212" cy="3539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  <a:latin typeface="Open Sans ExtraBold"/>
                <a:ea typeface="Open Sans ExtraBold"/>
                <a:cs typeface="Open Sans ExtraBold"/>
              </a:rPr>
              <a:t>How do people learn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DE9635-6E40-A7BA-C445-165A01F2725A}"/>
              </a:ext>
            </a:extLst>
          </p:cNvPr>
          <p:cNvSpPr txBox="1"/>
          <p:nvPr/>
        </p:nvSpPr>
        <p:spPr>
          <a:xfrm>
            <a:off x="4430369" y="3906164"/>
            <a:ext cx="3203177" cy="21866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9000"/>
              </a:lnSpc>
            </a:pPr>
            <a:r>
              <a:rPr lang="en-US" dirty="0">
                <a:latin typeface="Open Sans"/>
                <a:ea typeface="+mn-lt"/>
                <a:cs typeface="+mn-lt"/>
              </a:rPr>
              <a:t>Each of us has a specific learning style preference. </a:t>
            </a:r>
          </a:p>
          <a:p>
            <a:pPr>
              <a:lnSpc>
                <a:spcPct val="109000"/>
              </a:lnSpc>
            </a:pPr>
            <a:endParaRPr lang="en-US" sz="1400" dirty="0">
              <a:latin typeface="Open Sans"/>
              <a:ea typeface="+mn-lt"/>
              <a:cs typeface="+mn-lt"/>
            </a:endParaRPr>
          </a:p>
          <a:p>
            <a:pPr>
              <a:lnSpc>
                <a:spcPct val="109000"/>
              </a:lnSpc>
            </a:pPr>
            <a:endParaRPr lang="en-US" sz="1400" dirty="0">
              <a:latin typeface="Open Sans"/>
              <a:ea typeface="+mn-lt"/>
              <a:cs typeface="+mn-lt"/>
            </a:endParaRPr>
          </a:p>
          <a:p>
            <a:pPr>
              <a:lnSpc>
                <a:spcPct val="109000"/>
              </a:lnSpc>
            </a:pPr>
            <a:r>
              <a:rPr lang="en-US" sz="28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A combination</a:t>
            </a:r>
          </a:p>
          <a:p>
            <a:pPr>
              <a:lnSpc>
                <a:spcPct val="109000"/>
              </a:lnSpc>
            </a:pPr>
            <a:r>
              <a:rPr lang="en-US" sz="16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of auditory, visual, verbal, and kinesthetic works best.</a:t>
            </a:r>
            <a:endParaRPr lang="en-US" sz="2400" b="1" dirty="0">
              <a:solidFill>
                <a:srgbClr val="2970BA"/>
              </a:solidFill>
              <a:latin typeface="Open Sans"/>
              <a:ea typeface="+mn-lt"/>
              <a:cs typeface="+mn-lt"/>
            </a:endParaRPr>
          </a:p>
          <a:p>
            <a:pPr algn="l"/>
            <a:endParaRPr lang="en-US" sz="1400" dirty="0">
              <a:solidFill>
                <a:srgbClr val="383838"/>
              </a:solidFill>
            </a:endParaRPr>
          </a:p>
        </p:txBody>
      </p:sp>
      <p:pic>
        <p:nvPicPr>
          <p:cNvPr id="5" name="Graphic 4" descr="Tools with solid fill">
            <a:extLst>
              <a:ext uri="{FF2B5EF4-FFF2-40B4-BE49-F238E27FC236}">
                <a16:creationId xmlns:a16="http://schemas.microsoft.com/office/drawing/2014/main" id="{888F63C7-A4B8-6B74-F09A-7E8C7631CF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96547" y="1737229"/>
            <a:ext cx="914400" cy="914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65917A3-AE0B-6AD2-7089-998258BEDEF5}"/>
              </a:ext>
            </a:extLst>
          </p:cNvPr>
          <p:cNvSpPr txBox="1"/>
          <p:nvPr/>
        </p:nvSpPr>
        <p:spPr>
          <a:xfrm>
            <a:off x="8196546" y="2844099"/>
            <a:ext cx="3492349" cy="3539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700" b="1" dirty="0">
                <a:solidFill>
                  <a:schemeClr val="bg1"/>
                </a:solidFill>
                <a:latin typeface="Open Sans ExtraBold"/>
                <a:ea typeface="Open Sans ExtraBold"/>
                <a:cs typeface="Open Sans ExtraBold"/>
              </a:rPr>
              <a:t>What methods work best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048A87C-5FE1-8944-23B2-6E050BB808DE}"/>
              </a:ext>
            </a:extLst>
          </p:cNvPr>
          <p:cNvSpPr txBox="1"/>
          <p:nvPr/>
        </p:nvSpPr>
        <p:spPr>
          <a:xfrm>
            <a:off x="8285933" y="3906163"/>
            <a:ext cx="3402962" cy="218660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9000"/>
              </a:lnSpc>
            </a:pPr>
            <a:r>
              <a:rPr lang="en-US" dirty="0">
                <a:latin typeface="Open Sans"/>
                <a:ea typeface="+mn-lt"/>
                <a:cs typeface="+mn-lt"/>
              </a:rPr>
              <a:t>Consider what approaches and techniques you should use.</a:t>
            </a:r>
          </a:p>
          <a:p>
            <a:pPr>
              <a:lnSpc>
                <a:spcPct val="109000"/>
              </a:lnSpc>
            </a:pPr>
            <a:endParaRPr lang="en-US" sz="1400" dirty="0">
              <a:latin typeface="Open Sans"/>
              <a:ea typeface="+mn-lt"/>
              <a:cs typeface="+mn-lt"/>
            </a:endParaRPr>
          </a:p>
          <a:p>
            <a:pPr>
              <a:lnSpc>
                <a:spcPct val="109000"/>
              </a:lnSpc>
            </a:pPr>
            <a:endParaRPr lang="en-US" sz="1400" dirty="0">
              <a:latin typeface="Open Sans"/>
              <a:ea typeface="+mn-lt"/>
              <a:cs typeface="+mn-lt"/>
            </a:endParaRPr>
          </a:p>
          <a:p>
            <a:pPr>
              <a:lnSpc>
                <a:spcPct val="109000"/>
              </a:lnSpc>
            </a:pPr>
            <a:r>
              <a:rPr lang="en-US" sz="28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Common methods</a:t>
            </a:r>
          </a:p>
          <a:p>
            <a:pPr>
              <a:lnSpc>
                <a:spcPct val="109000"/>
              </a:lnSpc>
            </a:pPr>
            <a:r>
              <a:rPr lang="en-US" sz="1600" b="1" dirty="0">
                <a:solidFill>
                  <a:srgbClr val="2970BA"/>
                </a:solidFill>
                <a:latin typeface="Open Sans"/>
                <a:ea typeface="+mn-lt"/>
                <a:cs typeface="+mn-lt"/>
              </a:rPr>
              <a:t>include eLearning, instructor-led, microlearning, workshop, etc.</a:t>
            </a:r>
            <a:endParaRPr lang="en-US" sz="1600" dirty="0">
              <a:solidFill>
                <a:srgbClr val="29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70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B6D34E-E3C0-86B1-EB7F-7D1DB10EE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3B5DB96-70A6-BF2F-B642-60BB7EE56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3" y="71438"/>
            <a:ext cx="5258239" cy="865187"/>
          </a:xfrm>
        </p:spPr>
        <p:txBody>
          <a:bodyPr/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What we did: Learning design &amp; delivery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5A56AE3-67E5-FCE0-A18B-AA60C6C9891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09908" y="1675636"/>
            <a:ext cx="4359147" cy="3270507"/>
          </a:xfrm>
        </p:spPr>
        <p:txBody>
          <a:bodyPr/>
          <a:lstStyle/>
          <a:p>
            <a:pPr marL="0" indent="0">
              <a:buClrTx/>
              <a:buNone/>
            </a:pPr>
            <a:r>
              <a:rPr lang="en-US" sz="1800" b="1" dirty="0"/>
              <a:t>Goals</a:t>
            </a:r>
          </a:p>
          <a:p>
            <a:pPr marL="458788" indent="-163513">
              <a:buClrTx/>
            </a:pPr>
            <a:r>
              <a:rPr lang="en-US" sz="1800" dirty="0"/>
              <a:t>Increase accessibility awareness</a:t>
            </a:r>
          </a:p>
          <a:p>
            <a:pPr marL="458788" indent="-163513">
              <a:buClrTx/>
            </a:pPr>
            <a:r>
              <a:rPr lang="en-US" sz="1800" dirty="0"/>
              <a:t>Upskill our colleagues</a:t>
            </a:r>
          </a:p>
          <a:p>
            <a:pPr marL="0" indent="0">
              <a:buClrTx/>
              <a:buNone/>
            </a:pPr>
            <a:endParaRPr lang="en-US" sz="1800" b="1" dirty="0"/>
          </a:p>
          <a:p>
            <a:pPr marL="0" indent="0">
              <a:buClrTx/>
              <a:buNone/>
            </a:pPr>
            <a:r>
              <a:rPr lang="en-US" sz="1800" b="1" dirty="0"/>
              <a:t>Needs</a:t>
            </a:r>
          </a:p>
          <a:p>
            <a:pPr marL="404813" indent="-165100">
              <a:buClrTx/>
            </a:pPr>
            <a:r>
              <a:rPr lang="en-US" sz="1800" dirty="0"/>
              <a:t>Support a global workforce</a:t>
            </a:r>
          </a:p>
          <a:p>
            <a:pPr marL="404813" indent="-165100">
              <a:buClrTx/>
            </a:pPr>
            <a:r>
              <a:rPr lang="en-US" sz="1800" dirty="0"/>
              <a:t>Include a mix of learning styles and methods</a:t>
            </a:r>
          </a:p>
          <a:p>
            <a:pPr marL="404813" indent="-165100">
              <a:buClrTx/>
            </a:pPr>
            <a:r>
              <a:rPr lang="en-US" sz="1800" dirty="0"/>
              <a:t>Be easily digestible</a:t>
            </a:r>
          </a:p>
          <a:p>
            <a:pPr marL="404813" indent="-165100">
              <a:buClrTx/>
            </a:pPr>
            <a:r>
              <a:rPr lang="en-US" sz="1800" dirty="0"/>
              <a:t>Ability to update</a:t>
            </a:r>
          </a:p>
          <a:p>
            <a:pPr marL="404813" indent="-165100">
              <a:buClrTx/>
            </a:pPr>
            <a:r>
              <a:rPr lang="en-US" sz="1800" dirty="0"/>
              <a:t>Measurable</a:t>
            </a:r>
          </a:p>
          <a:p>
            <a:pPr marL="404813" indent="-165100">
              <a:buClrTx/>
            </a:pPr>
            <a:endParaRPr lang="en-US" sz="1800" dirty="0"/>
          </a:p>
          <a:p>
            <a:pPr>
              <a:buClrTx/>
            </a:pPr>
            <a:endParaRPr lang="en-US" sz="1800" dirty="0"/>
          </a:p>
          <a:p>
            <a:pPr>
              <a:buClrTx/>
            </a:pPr>
            <a:endParaRPr lang="en-US" sz="1800" dirty="0"/>
          </a:p>
        </p:txBody>
      </p:sp>
      <p:graphicFrame>
        <p:nvGraphicFramePr>
          <p:cNvPr id="2" name="Diagram 1" descr="Graphical representation of learning materials: static documents, self-paced courses, and training &amp; webinars.">
            <a:extLst>
              <a:ext uri="{FF2B5EF4-FFF2-40B4-BE49-F238E27FC236}">
                <a16:creationId xmlns:a16="http://schemas.microsoft.com/office/drawing/2014/main" id="{0DE61954-2E1D-2DBC-E7C2-D38C949CF9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8949499"/>
              </p:ext>
            </p:extLst>
          </p:nvPr>
        </p:nvGraphicFramePr>
        <p:xfrm>
          <a:off x="6830309" y="203525"/>
          <a:ext cx="5361691" cy="6450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4CB2A2-2651-62B9-F793-44979BB77E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88971" y="1675636"/>
            <a:ext cx="0" cy="382461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775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D852E6-9A7C-20BC-C89C-BE785DE94D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E05EF3-5561-2139-653D-C7DC6AE55D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766" y="521894"/>
            <a:ext cx="5544605" cy="8640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3. How are you going to measure the program?</a:t>
            </a:r>
          </a:p>
        </p:txBody>
      </p:sp>
      <p:pic>
        <p:nvPicPr>
          <p:cNvPr id="17" name="Graphic 16" descr="Measuring tape, icon">
            <a:extLst>
              <a:ext uri="{FF2B5EF4-FFF2-40B4-BE49-F238E27FC236}">
                <a16:creationId xmlns:a16="http://schemas.microsoft.com/office/drawing/2014/main" id="{E686F4CF-0645-DE3A-5ABE-1FA31E5836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3127" y="2155804"/>
            <a:ext cx="1062298" cy="106229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01F224D-8EF3-A9C8-0234-13600EC86786}"/>
              </a:ext>
            </a:extLst>
          </p:cNvPr>
          <p:cNvSpPr txBox="1"/>
          <p:nvPr/>
        </p:nvSpPr>
        <p:spPr>
          <a:xfrm>
            <a:off x="679628" y="3218102"/>
            <a:ext cx="4178811" cy="320485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Open Sans ExtraBold"/>
                <a:ea typeface="Open Sans ExtraBold"/>
                <a:cs typeface="Open Sans ExtraBold"/>
              </a:rPr>
              <a:t>Measuring success can often be difficult.</a:t>
            </a:r>
          </a:p>
          <a:p>
            <a:pPr marL="457200" indent="-282575">
              <a:lnSpc>
                <a:spcPct val="109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Open Sans"/>
                <a:ea typeface="+mn-lt"/>
                <a:cs typeface="+mn-lt"/>
              </a:rPr>
              <a:t>You don’t know what you are looking for</a:t>
            </a:r>
          </a:p>
          <a:p>
            <a:pPr marL="457200" indent="-282575">
              <a:lnSpc>
                <a:spcPct val="109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Open Sans"/>
                <a:ea typeface="+mn-lt"/>
                <a:cs typeface="+mn-lt"/>
              </a:rPr>
              <a:t>You are not set up to capture data properly</a:t>
            </a:r>
          </a:p>
          <a:p>
            <a:pPr marL="457200" indent="-282575">
              <a:lnSpc>
                <a:spcPct val="109000"/>
              </a:lnSpc>
              <a:buFontTx/>
              <a:buChar char="-"/>
            </a:pPr>
            <a:r>
              <a:rPr lang="en-US" dirty="0">
                <a:solidFill>
                  <a:schemeClr val="bg1"/>
                </a:solidFill>
                <a:latin typeface="Open Sans"/>
                <a:ea typeface="+mn-lt"/>
                <a:cs typeface="+mn-lt"/>
              </a:rPr>
              <a:t>It is not clear how the data will translate to work performance</a:t>
            </a:r>
          </a:p>
          <a:p>
            <a:pPr marL="457200" indent="-282575">
              <a:lnSpc>
                <a:spcPct val="109000"/>
              </a:lnSpc>
              <a:buFontTx/>
              <a:buChar char="-"/>
            </a:pPr>
            <a:endParaRPr lang="en-US" dirty="0">
              <a:solidFill>
                <a:schemeClr val="bg1"/>
              </a:solidFill>
              <a:latin typeface="Open Sans"/>
              <a:ea typeface="+mn-lt"/>
              <a:cs typeface="+mn-lt"/>
            </a:endParaRPr>
          </a:p>
          <a:p>
            <a:pPr marL="457200" indent="-457200">
              <a:lnSpc>
                <a:spcPct val="109000"/>
              </a:lnSpc>
              <a:buFontTx/>
              <a:buChar char="-"/>
            </a:pPr>
            <a:endParaRPr lang="en-US" sz="2800" b="1" dirty="0">
              <a:solidFill>
                <a:schemeClr val="bg1"/>
              </a:solidFill>
              <a:latin typeface="Open Sans"/>
              <a:ea typeface="+mn-lt"/>
              <a:cs typeface="+mn-lt"/>
            </a:endParaRPr>
          </a:p>
        </p:txBody>
      </p:sp>
      <p:grpSp>
        <p:nvGrpSpPr>
          <p:cNvPr id="8" name="Group 7" descr="Graphical representation of qualitative (people talking) and quantitative data (binary code).">
            <a:extLst>
              <a:ext uri="{FF2B5EF4-FFF2-40B4-BE49-F238E27FC236}">
                <a16:creationId xmlns:a16="http://schemas.microsoft.com/office/drawing/2014/main" id="{4FF4ECDE-D806-C3DE-047D-4249D1BE15CC}"/>
              </a:ext>
            </a:extLst>
          </p:cNvPr>
          <p:cNvGrpSpPr/>
          <p:nvPr/>
        </p:nvGrpSpPr>
        <p:grpSpPr>
          <a:xfrm>
            <a:off x="6514310" y="1059383"/>
            <a:ext cx="5332820" cy="5151357"/>
            <a:chOff x="589939" y="1339764"/>
            <a:chExt cx="5332820" cy="515135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6B5086F-142F-A6C6-4A2A-1E2175D09F7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924698" y="1339764"/>
              <a:ext cx="2997671" cy="431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US" sz="2400" b="1" dirty="0">
                  <a:solidFill>
                    <a:srgbClr val="3B4E4A"/>
                  </a:solidFill>
                </a:rPr>
                <a:t>Qualitative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023258-9D0B-5D2D-26FE-FAE77D0642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21"/>
            <a:stretch/>
          </p:blipFill>
          <p:spPr>
            <a:xfrm>
              <a:off x="924698" y="1771763"/>
              <a:ext cx="4233224" cy="4160020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CD50140-ED4D-C587-B047-3CF7B090FCF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/>
          </p:nvCxnSpPr>
          <p:spPr>
            <a:xfrm>
              <a:off x="589939" y="1412322"/>
              <a:ext cx="4998061" cy="4975778"/>
            </a:xfrm>
            <a:prstGeom prst="line">
              <a:avLst/>
            </a:prstGeom>
            <a:ln w="53975">
              <a:gradFill flip="none" rotWithShape="1">
                <a:gsLst>
                  <a:gs pos="0">
                    <a:schemeClr val="accent3">
                      <a:lumMod val="75000"/>
                    </a:schemeClr>
                  </a:gs>
                  <a:gs pos="42000">
                    <a:schemeClr val="bg1"/>
                  </a:gs>
                  <a:gs pos="83000">
                    <a:schemeClr val="accent3">
                      <a:lumMod val="75000"/>
                    </a:schemeClr>
                  </a:gs>
                </a:gsLst>
                <a:path path="rect">
                  <a:fillToRect l="100000" t="100000"/>
                </a:path>
                <a:tileRect r="-100000" b="-100000"/>
              </a:gradFill>
              <a:headEnd type="diamon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A8CC92-4360-524F-1651-8EDE055C10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 txBox="1"/>
            <p:nvPr/>
          </p:nvSpPr>
          <p:spPr>
            <a:xfrm>
              <a:off x="3155139" y="5944483"/>
              <a:ext cx="2767620" cy="54663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/>
              <a:r>
                <a:rPr lang="en-US" sz="2400" b="1" dirty="0">
                  <a:solidFill>
                    <a:srgbClr val="3B4E4A"/>
                  </a:solidFill>
                </a:rPr>
                <a:t>Quantitativ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28754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35B9C9-C9C9-3A5C-789C-D8F9C75E26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28261688-EC4C-D00D-038D-E27A1B90D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72000"/>
            <a:ext cx="5578092" cy="864000"/>
          </a:xfrm>
        </p:spPr>
        <p:txBody>
          <a:bodyPr/>
          <a:lstStyle/>
          <a:p>
            <a:r>
              <a:rPr lang="en-US" dirty="0"/>
              <a:t>What we did: Measurement</a:t>
            </a:r>
            <a:endParaRPr 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801C239-39BF-5EFC-7128-89A0B74783A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63278" y="1225934"/>
            <a:ext cx="4359147" cy="1213106"/>
          </a:xfrm>
        </p:spPr>
        <p:txBody>
          <a:bodyPr/>
          <a:lstStyle/>
          <a:p>
            <a:r>
              <a:rPr lang="en-US" sz="1800" b="1" dirty="0">
                <a:solidFill>
                  <a:srgbClr val="2970BA"/>
                </a:solidFill>
              </a:rPr>
              <a:t>Static documents</a:t>
            </a:r>
          </a:p>
          <a:p>
            <a:pPr lvl="1"/>
            <a:r>
              <a:rPr lang="en-US" sz="1800" dirty="0"/>
              <a:t>Hosted on Confluence and SharePoint to obtain engagement rates (total views, unique views, time spent, etc.)</a:t>
            </a:r>
          </a:p>
          <a:p>
            <a:r>
              <a:rPr lang="en-US" sz="1800" b="1" dirty="0">
                <a:solidFill>
                  <a:srgbClr val="2970BA"/>
                </a:solidFill>
              </a:rPr>
              <a:t>Courses</a:t>
            </a:r>
          </a:p>
          <a:p>
            <a:pPr lvl="1"/>
            <a:r>
              <a:rPr lang="en-US" sz="1800" dirty="0"/>
              <a:t>Hosted in Workday to obtain completed/in-progress rates and identify reporting lines.</a:t>
            </a:r>
          </a:p>
          <a:p>
            <a:pPr lvl="1"/>
            <a:r>
              <a:rPr lang="en-US" sz="1800" dirty="0"/>
              <a:t>Inclusion of content surveys</a:t>
            </a:r>
          </a:p>
          <a:p>
            <a:r>
              <a:rPr lang="en-US" sz="1800" b="1" dirty="0">
                <a:solidFill>
                  <a:srgbClr val="2970BA"/>
                </a:solidFill>
              </a:rPr>
              <a:t>Training and webinars</a:t>
            </a:r>
          </a:p>
          <a:p>
            <a:pPr lvl="1"/>
            <a:r>
              <a:rPr lang="en-US" sz="1800" dirty="0"/>
              <a:t>Attendance rat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2326792-8B2A-BD0A-9ACC-69944CF9C0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8244" y="1227829"/>
            <a:ext cx="0" cy="3555186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Content Placeholder 24" descr="A scale on a shelf.">
            <a:extLst>
              <a:ext uri="{FF2B5EF4-FFF2-40B4-BE49-F238E27FC236}">
                <a16:creationId xmlns:a16="http://schemas.microsoft.com/office/drawing/2014/main" id="{2A632418-57CB-5D78-B7E9-15BA8A4F57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744" y="671809"/>
            <a:ext cx="6164933" cy="41093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9B9A35B-F26A-5DE4-31B4-CDA310C3D3DD}"/>
              </a:ext>
            </a:extLst>
          </p:cNvPr>
          <p:cNvSpPr/>
          <p:nvPr/>
        </p:nvSpPr>
        <p:spPr>
          <a:xfrm>
            <a:off x="503499" y="5002362"/>
            <a:ext cx="5735996" cy="1255617"/>
          </a:xfrm>
          <a:prstGeom prst="rect">
            <a:avLst/>
          </a:prstGeom>
          <a:solidFill>
            <a:srgbClr val="2970BA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91440"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lign with:</a:t>
            </a:r>
          </a:p>
          <a:p>
            <a:pPr algn="ctr"/>
            <a:endParaRPr lang="en-US" sz="800" b="1" dirty="0">
              <a:solidFill>
                <a:schemeClr val="bg1"/>
              </a:solidFill>
            </a:endParaRP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Product audit results | Correspondence frequency | Overall proliferation of a11y program </a:t>
            </a:r>
          </a:p>
        </p:txBody>
      </p:sp>
    </p:spTree>
    <p:extLst>
      <p:ext uri="{BB962C8B-B14F-4D97-AF65-F5344CB8AC3E}">
        <p14:creationId xmlns:p14="http://schemas.microsoft.com/office/powerpoint/2010/main" val="2261078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9F516F39-B05B-5816-3D3F-2A84A410D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10027"/>
            <a:ext cx="11555335" cy="8640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4. With whom do you need to partner?</a:t>
            </a:r>
          </a:p>
        </p:txBody>
      </p:sp>
      <p:pic>
        <p:nvPicPr>
          <p:cNvPr id="3" name="Picture 2" descr="Paper chain people and their shadows">
            <a:extLst>
              <a:ext uri="{FF2B5EF4-FFF2-40B4-BE49-F238E27FC236}">
                <a16:creationId xmlns:a16="http://schemas.microsoft.com/office/drawing/2014/main" id="{76E3240F-E30C-FA87-CEFB-4E13979528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7040" y="1409779"/>
            <a:ext cx="5167976" cy="3445317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3117849-5BDF-875B-2DF1-36D988EA797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314726" y="5290848"/>
            <a:ext cx="3371553" cy="1213106"/>
          </a:xfrm>
        </p:spPr>
        <p:txBody>
          <a:bodyPr/>
          <a:lstStyle/>
          <a:p>
            <a:pPr marL="0" indent="0" algn="ctr">
              <a:buNone/>
            </a:pPr>
            <a:r>
              <a:rPr lang="en-US" sz="1800" dirty="0"/>
              <a:t>Who will be involved in program development?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4C7844F-D12A-FC16-28A7-383CF6FC2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28487" y="5050893"/>
            <a:ext cx="0" cy="1005840"/>
          </a:xfrm>
          <a:prstGeom prst="line">
            <a:avLst/>
          </a:prstGeom>
          <a:ln w="28575">
            <a:solidFill>
              <a:srgbClr val="2970B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DD1508D1-BB37-BB28-8F09-E3716D82EEC1}"/>
              </a:ext>
            </a:extLst>
          </p:cNvPr>
          <p:cNvSpPr txBox="1">
            <a:spLocks/>
          </p:cNvSpPr>
          <p:nvPr/>
        </p:nvSpPr>
        <p:spPr>
          <a:xfrm>
            <a:off x="6039724" y="5290848"/>
            <a:ext cx="3259014" cy="1213106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/>
              <a:t>Who will be involved in funding the program?</a:t>
            </a:r>
          </a:p>
          <a:p>
            <a:pPr marL="0" indent="0" algn="ctr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3164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6F88A-5A9A-6CD9-918B-91A16D7FD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What we did: Partner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FE397B8-DF32-3370-17CB-DE6DC5F6FB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01606" y="1612523"/>
            <a:ext cx="0" cy="2931342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9">
            <a:extLst>
              <a:ext uri="{FF2B5EF4-FFF2-40B4-BE49-F238E27FC236}">
                <a16:creationId xmlns:a16="http://schemas.microsoft.com/office/drawing/2014/main" id="{194CB88B-E76F-F799-93D8-45D3E65D0770}"/>
              </a:ext>
            </a:extLst>
          </p:cNvPr>
          <p:cNvSpPr txBox="1">
            <a:spLocks/>
          </p:cNvSpPr>
          <p:nvPr/>
        </p:nvSpPr>
        <p:spPr>
          <a:xfrm>
            <a:off x="1054472" y="1612523"/>
            <a:ext cx="4359147" cy="3614547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900000" indent="-180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Open Sans" panose="020B0606030504020204" pitchFamily="34" charset="0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Accessibility partners and our Accessibility Guild to create the content</a:t>
            </a:r>
          </a:p>
          <a:p>
            <a:r>
              <a:rPr lang="en-US" sz="1800" dirty="0"/>
              <a:t>Colleagues with instructional design experience to test the materials’ learning design</a:t>
            </a:r>
          </a:p>
          <a:p>
            <a:r>
              <a:rPr lang="en-US" sz="1800" dirty="0"/>
              <a:t>Department stakeholders to review completeness of content</a:t>
            </a:r>
          </a:p>
          <a:p>
            <a:r>
              <a:rPr lang="en-US" sz="1800" dirty="0"/>
              <a:t>HR for technical checks &amp; planning</a:t>
            </a:r>
          </a:p>
          <a:p>
            <a:r>
              <a:rPr lang="en-US" sz="1800" dirty="0"/>
              <a:t>Communications team for promotion</a:t>
            </a:r>
          </a:p>
        </p:txBody>
      </p:sp>
      <p:graphicFrame>
        <p:nvGraphicFramePr>
          <p:cNvPr id="14" name="Content Placeholder 13" descr="Graphical representation of budgeting process: review options, calculate risk vs. reward, shop around proposal.">
            <a:extLst>
              <a:ext uri="{FF2B5EF4-FFF2-40B4-BE49-F238E27FC236}">
                <a16:creationId xmlns:a16="http://schemas.microsoft.com/office/drawing/2014/main" id="{ACDE09C1-9F37-E971-8130-A1979F922CF4}"/>
              </a:ext>
            </a:extLst>
          </p:cNvPr>
          <p:cNvGraphicFramePr>
            <a:graphicFrameLocks noGrp="1"/>
          </p:cNvGraphicFramePr>
          <p:nvPr>
            <p:ph idx="12"/>
            <p:extLst>
              <p:ext uri="{D42A27DB-BD31-4B8C-83A1-F6EECF244321}">
                <p14:modId xmlns:p14="http://schemas.microsoft.com/office/powerpoint/2010/main" val="1879678826"/>
              </p:ext>
            </p:extLst>
          </p:nvPr>
        </p:nvGraphicFramePr>
        <p:xfrm>
          <a:off x="4719145" y="369643"/>
          <a:ext cx="8958943" cy="61187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1718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62900000000000000355E+00&quot;&gt;&lt;m_msothmcolidx val=&quot;0&quot;/&gt;&lt;m_rgb r=&quot;EA&quot; g=&quot;15&quot; b=&quot;13&quot;/&gt;&lt;/elem&gt;&lt;elem m_fUsage=&quot;1.00000000000000000000E+00&quot;&gt;&lt;m_msothmcolidx val=&quot;0&quot;/&gt;&lt;m_rgb r=&quot;DA&quot; g=&quot;00&quot; b=&quot;35&quot;/&gt;&lt;/elem&gt;&lt;elem m_fUsage=&quot;8.10000000000000053291E-01&quot;&gt;&lt;m_msothmcolidx val=&quot;0&quot;/&gt;&lt;m_rgb r=&quot;FF&quot; g=&quot;00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ley 2021.10">
  <a:themeElements>
    <a:clrScheme name="Wiley">
      <a:dk1>
        <a:srgbClr val="383838"/>
      </a:dk1>
      <a:lt1>
        <a:srgbClr val="FFFFFF"/>
      </a:lt1>
      <a:dk2>
        <a:srgbClr val="383838"/>
      </a:dk2>
      <a:lt2>
        <a:srgbClr val="E7E6E6"/>
      </a:lt2>
      <a:accent1>
        <a:srgbClr val="115C36"/>
      </a:accent1>
      <a:accent2>
        <a:srgbClr val="941E66"/>
      </a:accent2>
      <a:accent3>
        <a:srgbClr val="123D80"/>
      </a:accent3>
      <a:accent4>
        <a:srgbClr val="18C76F"/>
      </a:accent4>
      <a:accent5>
        <a:srgbClr val="E3549E"/>
      </a:accent5>
      <a:accent6>
        <a:srgbClr val="1D8AD6"/>
      </a:accent6>
      <a:hlink>
        <a:srgbClr val="1B5BA0"/>
      </a:hlink>
      <a:folHlink>
        <a:srgbClr val="B92D80"/>
      </a:folHlink>
    </a:clrScheme>
    <a:fontScheme name="Wiley Fonts">
      <a:majorFont>
        <a:latin typeface="Open Sans ExtraBold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98C53"/>
        </a:solidFill>
        <a:ln w="6350" cap="flat" cmpd="sng" algn="ctr">
          <a:solidFill>
            <a:srgbClr val="198C53"/>
          </a:solidFill>
          <a:prstDash val="solid"/>
          <a:miter lim="800000"/>
        </a:ln>
        <a:effectLst/>
      </a:spPr>
      <a:bodyPr rtlCol="0" anchor="ctr"/>
      <a:lstStyle>
        <a:defPPr algn="ctr">
          <a:defRPr sz="1400" b="1" dirty="0" err="1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115C3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 algn="l">
          <a:defRPr sz="1400" dirty="0" err="1" smtClean="0">
            <a:solidFill>
              <a:srgbClr val="383838"/>
            </a:solidFill>
          </a:defRPr>
        </a:defPPr>
      </a:lstStyle>
    </a:txDef>
  </a:objectDefaults>
  <a:extraClrSchemeLst/>
  <a:custClrLst>
    <a:custClr name="Dark Green">
      <a:srgbClr val="115C36"/>
    </a:custClr>
    <a:custClr name="Medium Green">
      <a:srgbClr val="198C53"/>
    </a:custClr>
    <a:custClr name="Bright Green">
      <a:srgbClr val="18C76F"/>
    </a:custClr>
    <a:custClr name="Chart Green">
      <a:srgbClr val="31EB80"/>
    </a:custClr>
    <a:custClr name="Dark Berry">
      <a:srgbClr val="941E66"/>
    </a:custClr>
    <a:custClr name="Medium Berry">
      <a:srgbClr val="B92D80"/>
    </a:custClr>
    <a:custClr name="Chart Berry">
      <a:srgbClr val="E3549E"/>
    </a:custClr>
    <a:custClr name="Bright Berry">
      <a:srgbClr val="FF91AA"/>
    </a:custClr>
    <a:custClr name="Dark Blue">
      <a:srgbClr val="123D80"/>
    </a:custClr>
    <a:custClr name="Medium Blue">
      <a:srgbClr val="1B5BA0"/>
    </a:custClr>
    <a:custClr name="Chart Blue">
      <a:srgbClr val="1D8AD6"/>
    </a:custClr>
    <a:custClr name="Bright Blue">
      <a:srgbClr val="18B7FB"/>
    </a:custClr>
    <a:custClr name="Dark Gray">
      <a:srgbClr val="505050"/>
    </a:custClr>
    <a:custClr name="Medium Gray 1">
      <a:srgbClr val="828282"/>
    </a:custClr>
    <a:custClr name="Medium Gray 2">
      <a:srgbClr val="D8D9DA"/>
    </a:custClr>
    <a:custClr name="Bright Gray">
      <a:srgbClr val="EFEFF0"/>
    </a:custClr>
    <a:custClr name="Wiley Text">
      <a:srgbClr val="383838"/>
    </a:custClr>
    <a:custClr name="Highlight Red">
      <a:srgbClr val="DA0035"/>
    </a:custClr>
    <a:custClr name="Highlight Yellow">
      <a:srgbClr val="FFC805"/>
    </a:custClr>
  </a:custClrLst>
  <a:extLst>
    <a:ext uri="{05A4C25C-085E-4340-85A3-A5531E510DB2}">
      <thm15:themeFamily xmlns:thm15="http://schemas.microsoft.com/office/thememl/2012/main" name="Wiley Blue Mac 2021-10.potx" id="{AB18FA43-EF25-4C41-95B2-FF320BB10640}" vid="{FFFCDB77-8CE5-4E55-93DA-333C5337F76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25D2ACD6A2BD4B8AD98CCB94383485" ma:contentTypeVersion="18" ma:contentTypeDescription="Create a new document." ma:contentTypeScope="" ma:versionID="30514de5de24b0436f95982e24a899e9">
  <xsd:schema xmlns:xsd="http://www.w3.org/2001/XMLSchema" xmlns:xs="http://www.w3.org/2001/XMLSchema" xmlns:p="http://schemas.microsoft.com/office/2006/metadata/properties" xmlns:ns1="http://schemas.microsoft.com/sharepoint/v3" xmlns:ns2="b6261b16-41b0-4437-900d-84f62cfa153e" xmlns:ns3="fe5fe59d-dd27-4d99-8ab1-07bbea7d1fc0" targetNamespace="http://schemas.microsoft.com/office/2006/metadata/properties" ma:root="true" ma:fieldsID="3731813d6bbc4f5877886e8276b0c2ed" ns1:_="" ns2:_="" ns3:_="">
    <xsd:import namespace="http://schemas.microsoft.com/sharepoint/v3"/>
    <xsd:import namespace="b6261b16-41b0-4437-900d-84f62cfa153e"/>
    <xsd:import namespace="fe5fe59d-dd27-4d99-8ab1-07bbea7d1f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261b16-41b0-4437-900d-84f62cfa15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7414def-154c-4d25-b3bb-ada8546948f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5fe59d-dd27-4d99-8ab1-07bbea7d1fc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6372fc8-b949-48c1-af3b-45ae08b3cf7a}" ma:internalName="TaxCatchAll" ma:showField="CatchAllData" ma:web="fe5fe59d-dd27-4d99-8ab1-07bbea7d1fc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b6261b16-41b0-4437-900d-84f62cfa153e" xsi:nil="true"/>
    <_ip_UnifiedCompliancePolicyUIAction xmlns="http://schemas.microsoft.com/sharepoint/v3" xsi:nil="true"/>
    <lcf76f155ced4ddcb4097134ff3c332f xmlns="b6261b16-41b0-4437-900d-84f62cfa153e">
      <Terms xmlns="http://schemas.microsoft.com/office/infopath/2007/PartnerControls"/>
    </lcf76f155ced4ddcb4097134ff3c332f>
    <TaxCatchAll xmlns="fe5fe59d-dd27-4d99-8ab1-07bbea7d1fc0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910D01E-E924-4EAB-A6F4-03B3B9382F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6261b16-41b0-4437-900d-84f62cfa153e"/>
    <ds:schemaRef ds:uri="fe5fe59d-dd27-4d99-8ab1-07bbea7d1f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8E72DC-457D-4BC8-B3D7-76667A5823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D855EC-1917-4BDD-81CE-DEA26BCD454D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b6261b16-41b0-4437-900d-84f62cfa153e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fe5fe59d-dd27-4d99-8ab1-07bbea7d1fc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ley 2021</Template>
  <TotalTime>4619</TotalTime>
  <Words>705</Words>
  <Application>Microsoft Macintosh PowerPoint</Application>
  <PresentationFormat>Widescreen</PresentationFormat>
  <Paragraphs>136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Open Sans</vt:lpstr>
      <vt:lpstr>Open Sans ExtraBold</vt:lpstr>
      <vt:lpstr>Open Sans ExtraBold</vt:lpstr>
      <vt:lpstr>Source Serif Pro</vt:lpstr>
      <vt:lpstr>Source Serif Pro Light</vt:lpstr>
      <vt:lpstr>Wingdings</vt:lpstr>
      <vt:lpstr>Wiley 2021.10</vt:lpstr>
      <vt:lpstr>think-cell Slide</vt:lpstr>
      <vt:lpstr>Think like an instructional designer: A case study in accessibility training at scale</vt:lpstr>
      <vt:lpstr>About Wiley</vt:lpstr>
      <vt:lpstr>1. Where does accessibility (a11y) have an impact?</vt:lpstr>
      <vt:lpstr>2. What are my instructional design needs?</vt:lpstr>
      <vt:lpstr>What we did: Learning design &amp; delivery</vt:lpstr>
      <vt:lpstr>3. How are you going to measure the program?</vt:lpstr>
      <vt:lpstr>What we did: Measurement</vt:lpstr>
      <vt:lpstr>4. With whom do you need to partner?</vt:lpstr>
      <vt:lpstr>What we did: Partners</vt:lpstr>
      <vt:lpstr>5. How are you going to promote it?</vt:lpstr>
      <vt:lpstr>What we did: Promotional strategy</vt:lpstr>
      <vt:lpstr>Program results by the numbers</vt:lpstr>
      <vt:lpstr>What we learned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olpe, Christina</dc:creator>
  <cp:lastModifiedBy>Volpe, Christina</cp:lastModifiedBy>
  <cp:revision>150</cp:revision>
  <dcterms:created xsi:type="dcterms:W3CDTF">2023-07-18T18:51:20Z</dcterms:created>
  <dcterms:modified xsi:type="dcterms:W3CDTF">2024-10-23T15:4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25D2ACD6A2BD4B8AD98CCB94383485</vt:lpwstr>
  </property>
  <property fmtid="{D5CDD505-2E9C-101B-9397-08002B2CF9AE}" pid="3" name="Order">
    <vt:r8>1328800</vt:r8>
  </property>
  <property fmtid="{D5CDD505-2E9C-101B-9397-08002B2CF9AE}" pid="4" name="_ExtendedDescription">
    <vt:lpwstr/>
  </property>
  <property fmtid="{D5CDD505-2E9C-101B-9397-08002B2CF9AE}" pid="5" name="ComplianceAssetId">
    <vt:lpwstr/>
  </property>
  <property fmtid="{D5CDD505-2E9C-101B-9397-08002B2CF9AE}" pid="6" name="MediaServiceImageTags">
    <vt:lpwstr/>
  </property>
</Properties>
</file>